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tags/tag18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9.xml" ContentType="application/vnd.openxmlformats-officedocument.presentationml.tags+xml"/>
  <Override PartName="/ppt/notesSlides/notesSlide14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5.xml" ContentType="application/vnd.openxmlformats-officedocument.presentationml.notesSlide+xml"/>
  <Override PartName="/ppt/tags/tag22.xml" ContentType="application/vnd.openxmlformats-officedocument.presentationml.tags+xml"/>
  <Override PartName="/ppt/notesSlides/notesSlide16.xml" ContentType="application/vnd.openxmlformats-officedocument.presentationml.notesSlide+xml"/>
  <Override PartName="/ppt/tags/tag23.xml" ContentType="application/vnd.openxmlformats-officedocument.presentationml.tags+xml"/>
  <Override PartName="/ppt/notesSlides/notesSlide17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8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9.xml" ContentType="application/vnd.openxmlformats-officedocument.presentationml.notesSlide+xml"/>
  <Override PartName="/ppt/tags/tag28.xml" ContentType="application/vnd.openxmlformats-officedocument.presentationml.tags+xml"/>
  <Override PartName="/ppt/notesSlides/notesSlide20.xml" ContentType="application/vnd.openxmlformats-officedocument.presentationml.notesSlide+xml"/>
  <Override PartName="/ppt/tags/tag29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32"/>
  </p:notesMasterIdLst>
  <p:sldIdLst>
    <p:sldId id="8688" r:id="rId3"/>
    <p:sldId id="280" r:id="rId4"/>
    <p:sldId id="512" r:id="rId5"/>
    <p:sldId id="8678" r:id="rId6"/>
    <p:sldId id="8690" r:id="rId7"/>
    <p:sldId id="8662" r:id="rId8"/>
    <p:sldId id="8673" r:id="rId9"/>
    <p:sldId id="8685" r:id="rId10"/>
    <p:sldId id="8666" r:id="rId11"/>
    <p:sldId id="8667" r:id="rId12"/>
    <p:sldId id="8681" r:id="rId13"/>
    <p:sldId id="8674" r:id="rId14"/>
    <p:sldId id="8675" r:id="rId15"/>
    <p:sldId id="8657" r:id="rId16"/>
    <p:sldId id="8663" r:id="rId17"/>
    <p:sldId id="8665" r:id="rId18"/>
    <p:sldId id="8689" r:id="rId19"/>
    <p:sldId id="8672" r:id="rId20"/>
    <p:sldId id="8668" r:id="rId21"/>
    <p:sldId id="8683" r:id="rId22"/>
    <p:sldId id="8655" r:id="rId23"/>
    <p:sldId id="8676" r:id="rId24"/>
    <p:sldId id="8664" r:id="rId25"/>
    <p:sldId id="8669" r:id="rId26"/>
    <p:sldId id="8677" r:id="rId27"/>
    <p:sldId id="8682" r:id="rId28"/>
    <p:sldId id="8679" r:id="rId29"/>
    <p:sldId id="8661" r:id="rId30"/>
    <p:sldId id="8686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8EA96"/>
    <a:srgbClr val="A5FBA3"/>
    <a:srgbClr val="DEFCB6"/>
    <a:srgbClr val="CBFEFD"/>
    <a:srgbClr val="EBFD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31" autoAdjust="0"/>
    <p:restoredTop sz="89204" autoAdjust="0"/>
  </p:normalViewPr>
  <p:slideViewPr>
    <p:cSldViewPr snapToGrid="0">
      <p:cViewPr varScale="1">
        <p:scale>
          <a:sx n="59" d="100"/>
          <a:sy n="59" d="100"/>
        </p:scale>
        <p:origin x="93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notesMaster" Target="notesMasters/notesMaster1.xml"/><Relationship Id="rId37" Type="http://schemas.microsoft.com/office/2016/11/relationships/changesInfo" Target="changesInfos/changesInfo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heme" Target="theme/theme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n, John" userId="e70e5845-51ac-4a37-9e2a-8249abf76bce" providerId="ADAL" clId="{F63E8D65-5F8C-4E54-B1C0-689F8761A682}"/>
    <pc:docChg chg="modSld">
      <pc:chgData name="Tan, John" userId="e70e5845-51ac-4a37-9e2a-8249abf76bce" providerId="ADAL" clId="{F63E8D65-5F8C-4E54-B1C0-689F8761A682}" dt="2022-02-23T12:04:31.235" v="44" actId="20577"/>
      <pc:docMkLst>
        <pc:docMk/>
      </pc:docMkLst>
      <pc:sldChg chg="modSp mod modNotesTx">
        <pc:chgData name="Tan, John" userId="e70e5845-51ac-4a37-9e2a-8249abf76bce" providerId="ADAL" clId="{F63E8D65-5F8C-4E54-B1C0-689F8761A682}" dt="2022-02-23T12:04:31.235" v="44" actId="20577"/>
        <pc:sldMkLst>
          <pc:docMk/>
          <pc:sldMk cId="3693281818" sldId="8673"/>
        </pc:sldMkLst>
        <pc:graphicFrameChg chg="modGraphic">
          <ac:chgData name="Tan, John" userId="e70e5845-51ac-4a37-9e2a-8249abf76bce" providerId="ADAL" clId="{F63E8D65-5F8C-4E54-B1C0-689F8761A682}" dt="2022-02-23T12:04:31.235" v="44" actId="20577"/>
          <ac:graphicFrameMkLst>
            <pc:docMk/>
            <pc:sldMk cId="3693281818" sldId="8673"/>
            <ac:graphicFrameMk id="5" creationId="{37D39B0C-51AF-4952-BD3E-365D3251B65F}"/>
          </ac:graphicFrameMkLst>
        </pc:graphicFrameChg>
      </pc:sldChg>
    </pc:docChg>
  </pc:docChgLst>
  <pc:docChgLst>
    <pc:chgData name="Tan, John" userId="e70e5845-51ac-4a37-9e2a-8249abf76bce" providerId="ADAL" clId="{49CB3106-2DA7-47FE-962F-A7C965086530}"/>
    <pc:docChg chg="undo custSel addSld delSld modSld sldOrd">
      <pc:chgData name="Tan, John" userId="e70e5845-51ac-4a37-9e2a-8249abf76bce" providerId="ADAL" clId="{49CB3106-2DA7-47FE-962F-A7C965086530}" dt="2022-01-10T04:01:15.079" v="3035" actId="20577"/>
      <pc:docMkLst>
        <pc:docMk/>
      </pc:docMkLst>
      <pc:sldChg chg="del">
        <pc:chgData name="Tan, John" userId="e70e5845-51ac-4a37-9e2a-8249abf76bce" providerId="ADAL" clId="{49CB3106-2DA7-47FE-962F-A7C965086530}" dt="2022-01-03T12:43:35.406" v="281" actId="47"/>
        <pc:sldMkLst>
          <pc:docMk/>
          <pc:sldMk cId="4126400293" sldId="256"/>
        </pc:sldMkLst>
      </pc:sldChg>
      <pc:sldChg chg="modSp mod">
        <pc:chgData name="Tan, John" userId="e70e5845-51ac-4a37-9e2a-8249abf76bce" providerId="ADAL" clId="{49CB3106-2DA7-47FE-962F-A7C965086530}" dt="2022-01-04T01:19:31.880" v="411" actId="20577"/>
        <pc:sldMkLst>
          <pc:docMk/>
          <pc:sldMk cId="171252689" sldId="280"/>
        </pc:sldMkLst>
        <pc:spChg chg="mod">
          <ac:chgData name="Tan, John" userId="e70e5845-51ac-4a37-9e2a-8249abf76bce" providerId="ADAL" clId="{49CB3106-2DA7-47FE-962F-A7C965086530}" dt="2022-01-04T01:19:31.880" v="411" actId="20577"/>
          <ac:spMkLst>
            <pc:docMk/>
            <pc:sldMk cId="171252689" sldId="280"/>
            <ac:spMk id="2" creationId="{00000000-0000-0000-0000-000000000000}"/>
          </ac:spMkLst>
        </pc:spChg>
        <pc:spChg chg="mod">
          <ac:chgData name="Tan, John" userId="e70e5845-51ac-4a37-9e2a-8249abf76bce" providerId="ADAL" clId="{49CB3106-2DA7-47FE-962F-A7C965086530}" dt="2022-01-04T01:19:05.770" v="386" actId="20577"/>
          <ac:spMkLst>
            <pc:docMk/>
            <pc:sldMk cId="171252689" sldId="280"/>
            <ac:spMk id="3" creationId="{00000000-0000-0000-0000-000000000000}"/>
          </ac:spMkLst>
        </pc:spChg>
      </pc:sldChg>
      <pc:sldChg chg="modSp mod modNotesTx">
        <pc:chgData name="Tan, John" userId="e70e5845-51ac-4a37-9e2a-8249abf76bce" providerId="ADAL" clId="{49CB3106-2DA7-47FE-962F-A7C965086530}" dt="2022-01-10T03:51:36.586" v="2816" actId="20577"/>
        <pc:sldMkLst>
          <pc:docMk/>
          <pc:sldMk cId="575224185" sldId="512"/>
        </pc:sldMkLst>
        <pc:spChg chg="mod">
          <ac:chgData name="Tan, John" userId="e70e5845-51ac-4a37-9e2a-8249abf76bce" providerId="ADAL" clId="{49CB3106-2DA7-47FE-962F-A7C965086530}" dt="2022-01-10T02:20:13.993" v="1373" actId="14100"/>
          <ac:spMkLst>
            <pc:docMk/>
            <pc:sldMk cId="575224185" sldId="512"/>
            <ac:spMk id="3" creationId="{73478703-D39B-41B3-9107-673830ADFBF6}"/>
          </ac:spMkLst>
        </pc:spChg>
        <pc:spChg chg="mod">
          <ac:chgData name="Tan, John" userId="e70e5845-51ac-4a37-9e2a-8249abf76bce" providerId="ADAL" clId="{49CB3106-2DA7-47FE-962F-A7C965086530}" dt="2022-01-10T02:19:55.711" v="1371" actId="20577"/>
          <ac:spMkLst>
            <pc:docMk/>
            <pc:sldMk cId="575224185" sldId="512"/>
            <ac:spMk id="13" creationId="{46A990B5-74F8-4756-A422-7BE14246F9FA}"/>
          </ac:spMkLst>
        </pc:spChg>
        <pc:spChg chg="mod">
          <ac:chgData name="Tan, John" userId="e70e5845-51ac-4a37-9e2a-8249abf76bce" providerId="ADAL" clId="{49CB3106-2DA7-47FE-962F-A7C965086530}" dt="2022-01-04T01:20:17.486" v="420" actId="20577"/>
          <ac:spMkLst>
            <pc:docMk/>
            <pc:sldMk cId="575224185" sldId="512"/>
            <ac:spMk id="17" creationId="{002C6647-8C0C-4EC7-9628-04966117EFF4}"/>
          </ac:spMkLst>
        </pc:spChg>
        <pc:spChg chg="mod">
          <ac:chgData name="Tan, John" userId="e70e5845-51ac-4a37-9e2a-8249abf76bce" providerId="ADAL" clId="{49CB3106-2DA7-47FE-962F-A7C965086530}" dt="2022-01-04T01:22:30.194" v="507" actId="207"/>
          <ac:spMkLst>
            <pc:docMk/>
            <pc:sldMk cId="575224185" sldId="512"/>
            <ac:spMk id="32" creationId="{5E57DE52-7712-4FD6-BC93-8E6CC590C3C7}"/>
          </ac:spMkLst>
        </pc:spChg>
        <pc:spChg chg="mod">
          <ac:chgData name="Tan, John" userId="e70e5845-51ac-4a37-9e2a-8249abf76bce" providerId="ADAL" clId="{49CB3106-2DA7-47FE-962F-A7C965086530}" dt="2022-01-04T01:22:52.638" v="514" actId="207"/>
          <ac:spMkLst>
            <pc:docMk/>
            <pc:sldMk cId="575224185" sldId="512"/>
            <ac:spMk id="34" creationId="{FEFAB3A0-B522-4269-82D8-B651537EE33E}"/>
          </ac:spMkLst>
        </pc:spChg>
        <pc:spChg chg="mod">
          <ac:chgData name="Tan, John" userId="e70e5845-51ac-4a37-9e2a-8249abf76bce" providerId="ADAL" clId="{49CB3106-2DA7-47FE-962F-A7C965086530}" dt="2022-01-04T01:22:17.988" v="505" actId="207"/>
          <ac:spMkLst>
            <pc:docMk/>
            <pc:sldMk cId="575224185" sldId="512"/>
            <ac:spMk id="37" creationId="{638ACE7A-BB0A-44BD-A2CB-E12BF9764E01}"/>
          </ac:spMkLst>
        </pc:spChg>
        <pc:spChg chg="mod">
          <ac:chgData name="Tan, John" userId="e70e5845-51ac-4a37-9e2a-8249abf76bce" providerId="ADAL" clId="{49CB3106-2DA7-47FE-962F-A7C965086530}" dt="2022-01-04T01:22:58.540" v="515" actId="207"/>
          <ac:spMkLst>
            <pc:docMk/>
            <pc:sldMk cId="575224185" sldId="512"/>
            <ac:spMk id="38" creationId="{16F8AFDB-255D-47DA-A47E-15AF8D341C92}"/>
          </ac:spMkLst>
        </pc:spChg>
        <pc:spChg chg="mod">
          <ac:chgData name="Tan, John" userId="e70e5845-51ac-4a37-9e2a-8249abf76bce" providerId="ADAL" clId="{49CB3106-2DA7-47FE-962F-A7C965086530}" dt="2022-01-04T01:21:26.691" v="501" actId="1076"/>
          <ac:spMkLst>
            <pc:docMk/>
            <pc:sldMk cId="575224185" sldId="512"/>
            <ac:spMk id="39" creationId="{19F7B8D8-4D6C-49C1-9E1A-90BF3FB8319A}"/>
          </ac:spMkLst>
        </pc:spChg>
        <pc:spChg chg="mod">
          <ac:chgData name="Tan, John" userId="e70e5845-51ac-4a37-9e2a-8249abf76bce" providerId="ADAL" clId="{49CB3106-2DA7-47FE-962F-A7C965086530}" dt="2022-01-04T01:22:25.421" v="506" actId="207"/>
          <ac:spMkLst>
            <pc:docMk/>
            <pc:sldMk cId="575224185" sldId="512"/>
            <ac:spMk id="40" creationId="{792DE71E-E202-4B7B-A175-625ED1E2AAC8}"/>
          </ac:spMkLst>
        </pc:spChg>
      </pc:sldChg>
      <pc:sldChg chg="modSp mod modNotesTx">
        <pc:chgData name="Tan, John" userId="e70e5845-51ac-4a37-9e2a-8249abf76bce" providerId="ADAL" clId="{49CB3106-2DA7-47FE-962F-A7C965086530}" dt="2022-01-10T02:29:34.842" v="2058" actId="6549"/>
        <pc:sldMkLst>
          <pc:docMk/>
          <pc:sldMk cId="133712276" sldId="8662"/>
        </pc:sldMkLst>
        <pc:spChg chg="mod">
          <ac:chgData name="Tan, John" userId="e70e5845-51ac-4a37-9e2a-8249abf76bce" providerId="ADAL" clId="{49CB3106-2DA7-47FE-962F-A7C965086530}" dt="2022-01-10T02:28:22.948" v="1952" actId="6549"/>
          <ac:spMkLst>
            <pc:docMk/>
            <pc:sldMk cId="133712276" sldId="8662"/>
            <ac:spMk id="2" creationId="{30095DC5-5A33-4D43-B3EB-FE9169F1C432}"/>
          </ac:spMkLst>
        </pc:spChg>
      </pc:sldChg>
      <pc:sldChg chg="modNotesTx">
        <pc:chgData name="Tan, John" userId="e70e5845-51ac-4a37-9e2a-8249abf76bce" providerId="ADAL" clId="{49CB3106-2DA7-47FE-962F-A7C965086530}" dt="2022-01-10T02:42:00.819" v="2731" actId="20577"/>
        <pc:sldMkLst>
          <pc:docMk/>
          <pc:sldMk cId="3847249655" sldId="8663"/>
        </pc:sldMkLst>
      </pc:sldChg>
      <pc:sldChg chg="modNotesTx">
        <pc:chgData name="Tan, John" userId="e70e5845-51ac-4a37-9e2a-8249abf76bce" providerId="ADAL" clId="{49CB3106-2DA7-47FE-962F-A7C965086530}" dt="2022-01-10T02:42:52.846" v="2784" actId="20577"/>
        <pc:sldMkLst>
          <pc:docMk/>
          <pc:sldMk cId="4142527905" sldId="8665"/>
        </pc:sldMkLst>
      </pc:sldChg>
      <pc:sldChg chg="modSp mod">
        <pc:chgData name="Tan, John" userId="e70e5845-51ac-4a37-9e2a-8249abf76bce" providerId="ADAL" clId="{49CB3106-2DA7-47FE-962F-A7C965086530}" dt="2022-01-04T12:38:35.078" v="1192" actId="20577"/>
        <pc:sldMkLst>
          <pc:docMk/>
          <pc:sldMk cId="2851745309" sldId="8666"/>
        </pc:sldMkLst>
        <pc:spChg chg="mod">
          <ac:chgData name="Tan, John" userId="e70e5845-51ac-4a37-9e2a-8249abf76bce" providerId="ADAL" clId="{49CB3106-2DA7-47FE-962F-A7C965086530}" dt="2022-01-04T12:38:35.078" v="1192" actId="20577"/>
          <ac:spMkLst>
            <pc:docMk/>
            <pc:sldMk cId="2851745309" sldId="8666"/>
            <ac:spMk id="2" creationId="{30095DC5-5A33-4D43-B3EB-FE9169F1C432}"/>
          </ac:spMkLst>
        </pc:spChg>
      </pc:sldChg>
      <pc:sldChg chg="modSp mod">
        <pc:chgData name="Tan, John" userId="e70e5845-51ac-4a37-9e2a-8249abf76bce" providerId="ADAL" clId="{49CB3106-2DA7-47FE-962F-A7C965086530}" dt="2022-01-04T04:06:15.260" v="629" actId="20577"/>
        <pc:sldMkLst>
          <pc:docMk/>
          <pc:sldMk cId="2279156548" sldId="8668"/>
        </pc:sldMkLst>
        <pc:spChg chg="mod">
          <ac:chgData name="Tan, John" userId="e70e5845-51ac-4a37-9e2a-8249abf76bce" providerId="ADAL" clId="{49CB3106-2DA7-47FE-962F-A7C965086530}" dt="2022-01-04T04:06:15.260" v="629" actId="20577"/>
          <ac:spMkLst>
            <pc:docMk/>
            <pc:sldMk cId="2279156548" sldId="8668"/>
            <ac:spMk id="3" creationId="{735D6746-41D2-43B7-B3FF-1A6175398D06}"/>
          </ac:spMkLst>
        </pc:spChg>
      </pc:sldChg>
      <pc:sldChg chg="modSp mod ord">
        <pc:chgData name="Tan, John" userId="e70e5845-51ac-4a37-9e2a-8249abf76bce" providerId="ADAL" clId="{49CB3106-2DA7-47FE-962F-A7C965086530}" dt="2022-01-04T12:37:25.551" v="1165" actId="20577"/>
        <pc:sldMkLst>
          <pc:docMk/>
          <pc:sldMk cId="553320005" sldId="8672"/>
        </pc:sldMkLst>
        <pc:spChg chg="mod">
          <ac:chgData name="Tan, John" userId="e70e5845-51ac-4a37-9e2a-8249abf76bce" providerId="ADAL" clId="{49CB3106-2DA7-47FE-962F-A7C965086530}" dt="2022-01-04T12:37:25.551" v="1165" actId="20577"/>
          <ac:spMkLst>
            <pc:docMk/>
            <pc:sldMk cId="553320005" sldId="8672"/>
            <ac:spMk id="2" creationId="{00000000-0000-0000-0000-000000000000}"/>
          </ac:spMkLst>
        </pc:spChg>
      </pc:sldChg>
      <pc:sldChg chg="modSp mod modNotesTx">
        <pc:chgData name="Tan, John" userId="e70e5845-51ac-4a37-9e2a-8249abf76bce" providerId="ADAL" clId="{49CB3106-2DA7-47FE-962F-A7C965086530}" dt="2022-01-10T02:31:25.980" v="2200" actId="20577"/>
        <pc:sldMkLst>
          <pc:docMk/>
          <pc:sldMk cId="3693281818" sldId="8673"/>
        </pc:sldMkLst>
        <pc:spChg chg="mod">
          <ac:chgData name="Tan, John" userId="e70e5845-51ac-4a37-9e2a-8249abf76bce" providerId="ADAL" clId="{49CB3106-2DA7-47FE-962F-A7C965086530}" dt="2022-01-04T01:15:39.799" v="319" actId="255"/>
          <ac:spMkLst>
            <pc:docMk/>
            <pc:sldMk cId="3693281818" sldId="8673"/>
            <ac:spMk id="10" creationId="{B8A58869-F58C-49FC-8F53-358BAF0A5454}"/>
          </ac:spMkLst>
        </pc:spChg>
        <pc:spChg chg="mod">
          <ac:chgData name="Tan, John" userId="e70e5845-51ac-4a37-9e2a-8249abf76bce" providerId="ADAL" clId="{49CB3106-2DA7-47FE-962F-A7C965086530}" dt="2022-01-04T01:28:32.553" v="541" actId="255"/>
          <ac:spMkLst>
            <pc:docMk/>
            <pc:sldMk cId="3693281818" sldId="8673"/>
            <ac:spMk id="12" creationId="{4A116529-37AD-4EB8-BC6A-AF13AB17A894}"/>
          </ac:spMkLst>
        </pc:spChg>
      </pc:sldChg>
      <pc:sldChg chg="modSp mod">
        <pc:chgData name="Tan, John" userId="e70e5845-51ac-4a37-9e2a-8249abf76bce" providerId="ADAL" clId="{49CB3106-2DA7-47FE-962F-A7C965086530}" dt="2022-01-10T02:35:51.848" v="2332" actId="20577"/>
        <pc:sldMkLst>
          <pc:docMk/>
          <pc:sldMk cId="1830185616" sldId="8674"/>
        </pc:sldMkLst>
        <pc:spChg chg="mod">
          <ac:chgData name="Tan, John" userId="e70e5845-51ac-4a37-9e2a-8249abf76bce" providerId="ADAL" clId="{49CB3106-2DA7-47FE-962F-A7C965086530}" dt="2022-01-10T02:35:51.848" v="2332" actId="20577"/>
          <ac:spMkLst>
            <pc:docMk/>
            <pc:sldMk cId="1830185616" sldId="8674"/>
            <ac:spMk id="2" creationId="{30095DC5-5A33-4D43-B3EB-FE9169F1C432}"/>
          </ac:spMkLst>
        </pc:spChg>
      </pc:sldChg>
      <pc:sldChg chg="modSp mod modNotesTx">
        <pc:chgData name="Tan, John" userId="e70e5845-51ac-4a37-9e2a-8249abf76bce" providerId="ADAL" clId="{49CB3106-2DA7-47FE-962F-A7C965086530}" dt="2022-01-10T02:39:24.257" v="2549" actId="20577"/>
        <pc:sldMkLst>
          <pc:docMk/>
          <pc:sldMk cId="54144101" sldId="8675"/>
        </pc:sldMkLst>
        <pc:spChg chg="mod">
          <ac:chgData name="Tan, John" userId="e70e5845-51ac-4a37-9e2a-8249abf76bce" providerId="ADAL" clId="{49CB3106-2DA7-47FE-962F-A7C965086530}" dt="2022-01-10T02:38:01.895" v="2450" actId="20577"/>
          <ac:spMkLst>
            <pc:docMk/>
            <pc:sldMk cId="54144101" sldId="8675"/>
            <ac:spMk id="2" creationId="{30095DC5-5A33-4D43-B3EB-FE9169F1C432}"/>
          </ac:spMkLst>
        </pc:spChg>
        <pc:picChg chg="mod">
          <ac:chgData name="Tan, John" userId="e70e5845-51ac-4a37-9e2a-8249abf76bce" providerId="ADAL" clId="{49CB3106-2DA7-47FE-962F-A7C965086530}" dt="2022-01-10T02:36:17.705" v="2334" actId="14100"/>
          <ac:picMkLst>
            <pc:docMk/>
            <pc:sldMk cId="54144101" sldId="8675"/>
            <ac:picMk id="5" creationId="{D1BFADD8-91A9-4189-93DC-93EBC4DCA633}"/>
          </ac:picMkLst>
        </pc:picChg>
      </pc:sldChg>
      <pc:sldChg chg="modSp mod ord modNotesTx">
        <pc:chgData name="Tan, John" userId="e70e5845-51ac-4a37-9e2a-8249abf76bce" providerId="ADAL" clId="{49CB3106-2DA7-47FE-962F-A7C965086530}" dt="2022-01-10T04:00:33.767" v="2979"/>
        <pc:sldMkLst>
          <pc:docMk/>
          <pc:sldMk cId="177769294" sldId="8676"/>
        </pc:sldMkLst>
        <pc:picChg chg="mod">
          <ac:chgData name="Tan, John" userId="e70e5845-51ac-4a37-9e2a-8249abf76bce" providerId="ADAL" clId="{49CB3106-2DA7-47FE-962F-A7C965086530}" dt="2022-01-04T01:27:37.648" v="525" actId="1076"/>
          <ac:picMkLst>
            <pc:docMk/>
            <pc:sldMk cId="177769294" sldId="8676"/>
            <ac:picMk id="4" creationId="{76E26AF2-2423-4192-8A39-BB721E200C32}"/>
          </ac:picMkLst>
        </pc:picChg>
      </pc:sldChg>
      <pc:sldChg chg="addSp modSp mod modNotesTx">
        <pc:chgData name="Tan, John" userId="e70e5845-51ac-4a37-9e2a-8249abf76bce" providerId="ADAL" clId="{49CB3106-2DA7-47FE-962F-A7C965086530}" dt="2022-01-10T02:18:39.930" v="1340" actId="20577"/>
        <pc:sldMkLst>
          <pc:docMk/>
          <pc:sldMk cId="3594194017" sldId="8678"/>
        </pc:sldMkLst>
        <pc:spChg chg="add mod ord">
          <ac:chgData name="Tan, John" userId="e70e5845-51ac-4a37-9e2a-8249abf76bce" providerId="ADAL" clId="{49CB3106-2DA7-47FE-962F-A7C965086530}" dt="2022-01-04T01:26:12.430" v="524" actId="1582"/>
          <ac:spMkLst>
            <pc:docMk/>
            <pc:sldMk cId="3594194017" sldId="8678"/>
            <ac:spMk id="4" creationId="{737B5A49-2175-4C81-83E5-1A42F57AF7DD}"/>
          </ac:spMkLst>
        </pc:spChg>
        <pc:graphicFrameChg chg="mod">
          <ac:chgData name="Tan, John" userId="e70e5845-51ac-4a37-9e2a-8249abf76bce" providerId="ADAL" clId="{49CB3106-2DA7-47FE-962F-A7C965086530}" dt="2022-01-04T01:25:13.126" v="520" actId="20577"/>
          <ac:graphicFrameMkLst>
            <pc:docMk/>
            <pc:sldMk cId="3594194017" sldId="8678"/>
            <ac:graphicFrameMk id="3" creationId="{560D9162-6F50-42FF-9A51-B2A8E82FAFDD}"/>
          </ac:graphicFrameMkLst>
        </pc:graphicFrameChg>
      </pc:sldChg>
      <pc:sldChg chg="modSp mod">
        <pc:chgData name="Tan, John" userId="e70e5845-51ac-4a37-9e2a-8249abf76bce" providerId="ADAL" clId="{49CB3106-2DA7-47FE-962F-A7C965086530}" dt="2022-01-04T01:17:08.888" v="349" actId="255"/>
        <pc:sldMkLst>
          <pc:docMk/>
          <pc:sldMk cId="3200907316" sldId="8681"/>
        </pc:sldMkLst>
        <pc:spChg chg="mod">
          <ac:chgData name="Tan, John" userId="e70e5845-51ac-4a37-9e2a-8249abf76bce" providerId="ADAL" clId="{49CB3106-2DA7-47FE-962F-A7C965086530}" dt="2022-01-04T01:17:08.888" v="349" actId="255"/>
          <ac:spMkLst>
            <pc:docMk/>
            <pc:sldMk cId="3200907316" sldId="8681"/>
            <ac:spMk id="13" creationId="{4F76178B-C0A2-4FD2-8675-42AFB845A42E}"/>
          </ac:spMkLst>
        </pc:spChg>
      </pc:sldChg>
      <pc:sldChg chg="addSp delSp modSp mod modClrScheme chgLayout">
        <pc:chgData name="Tan, John" userId="e70e5845-51ac-4a37-9e2a-8249abf76bce" providerId="ADAL" clId="{49CB3106-2DA7-47FE-962F-A7C965086530}" dt="2022-01-03T12:55:19.275" v="297" actId="14100"/>
        <pc:sldMkLst>
          <pc:docMk/>
          <pc:sldMk cId="1351158687" sldId="8683"/>
        </pc:sldMkLst>
        <pc:spChg chg="del">
          <ac:chgData name="Tan, John" userId="e70e5845-51ac-4a37-9e2a-8249abf76bce" providerId="ADAL" clId="{49CB3106-2DA7-47FE-962F-A7C965086530}" dt="2022-01-03T12:00:49.856" v="0" actId="478"/>
          <ac:spMkLst>
            <pc:docMk/>
            <pc:sldMk cId="1351158687" sldId="8683"/>
            <ac:spMk id="2" creationId="{E78E671D-21C4-4568-B65B-9B9B602159DE}"/>
          </ac:spMkLst>
        </pc:spChg>
        <pc:spChg chg="del">
          <ac:chgData name="Tan, John" userId="e70e5845-51ac-4a37-9e2a-8249abf76bce" providerId="ADAL" clId="{49CB3106-2DA7-47FE-962F-A7C965086530}" dt="2022-01-03T12:54:34.462" v="290" actId="26606"/>
          <ac:spMkLst>
            <pc:docMk/>
            <pc:sldMk cId="1351158687" sldId="8683"/>
            <ac:spMk id="3" creationId="{8F92560A-E78A-4E60-8FB0-3AB20536D2C8}"/>
          </ac:spMkLst>
        </pc:spChg>
        <pc:spChg chg="del mod">
          <ac:chgData name="Tan, John" userId="e70e5845-51ac-4a37-9e2a-8249abf76bce" providerId="ADAL" clId="{49CB3106-2DA7-47FE-962F-A7C965086530}" dt="2022-01-03T12:54:34.462" v="290" actId="26606"/>
          <ac:spMkLst>
            <pc:docMk/>
            <pc:sldMk cId="1351158687" sldId="8683"/>
            <ac:spMk id="4" creationId="{31A78883-B87F-45DB-8361-9DCAD1DFBDE9}"/>
          </ac:spMkLst>
        </pc:spChg>
        <pc:spChg chg="add mod ord">
          <ac:chgData name="Tan, John" userId="e70e5845-51ac-4a37-9e2a-8249abf76bce" providerId="ADAL" clId="{49CB3106-2DA7-47FE-962F-A7C965086530}" dt="2022-01-03T12:54:59.333" v="293" actId="122"/>
          <ac:spMkLst>
            <pc:docMk/>
            <pc:sldMk cId="1351158687" sldId="8683"/>
            <ac:spMk id="5" creationId="{9F152941-86DC-4696-96F6-A7D440CFE0B2}"/>
          </ac:spMkLst>
        </pc:spChg>
        <pc:spChg chg="add mod">
          <ac:chgData name="Tan, John" userId="e70e5845-51ac-4a37-9e2a-8249abf76bce" providerId="ADAL" clId="{49CB3106-2DA7-47FE-962F-A7C965086530}" dt="2022-01-03T12:54:34.462" v="290" actId="26606"/>
          <ac:spMkLst>
            <pc:docMk/>
            <pc:sldMk cId="1351158687" sldId="8683"/>
            <ac:spMk id="12" creationId="{606824AB-8CF7-472A-852B-4F277151C9F0}"/>
          </ac:spMkLst>
        </pc:spChg>
        <pc:picChg chg="add mod ord">
          <ac:chgData name="Tan, John" userId="e70e5845-51ac-4a37-9e2a-8249abf76bce" providerId="ADAL" clId="{49CB3106-2DA7-47FE-962F-A7C965086530}" dt="2022-01-03T12:55:16.954" v="296" actId="14100"/>
          <ac:picMkLst>
            <pc:docMk/>
            <pc:sldMk cId="1351158687" sldId="8683"/>
            <ac:picMk id="6" creationId="{183DE5E5-0336-4B02-B427-047706EE713F}"/>
          </ac:picMkLst>
        </pc:picChg>
        <pc:picChg chg="add mod">
          <ac:chgData name="Tan, John" userId="e70e5845-51ac-4a37-9e2a-8249abf76bce" providerId="ADAL" clId="{49CB3106-2DA7-47FE-962F-A7C965086530}" dt="2022-01-03T12:55:19.275" v="297" actId="14100"/>
          <ac:picMkLst>
            <pc:docMk/>
            <pc:sldMk cId="1351158687" sldId="8683"/>
            <ac:picMk id="7" creationId="{2B375D8B-D12D-4172-B703-501E8C17DB2D}"/>
          </ac:picMkLst>
        </pc:picChg>
      </pc:sldChg>
      <pc:sldChg chg="addSp delSp modSp new del mod ord">
        <pc:chgData name="Tan, John" userId="e70e5845-51ac-4a37-9e2a-8249abf76bce" providerId="ADAL" clId="{49CB3106-2DA7-47FE-962F-A7C965086530}" dt="2022-01-03T12:41:14.395" v="268" actId="47"/>
        <pc:sldMkLst>
          <pc:docMk/>
          <pc:sldMk cId="360173524" sldId="8684"/>
        </pc:sldMkLst>
        <pc:spChg chg="add del">
          <ac:chgData name="Tan, John" userId="e70e5845-51ac-4a37-9e2a-8249abf76bce" providerId="ADAL" clId="{49CB3106-2DA7-47FE-962F-A7C965086530}" dt="2022-01-03T12:05:15.819" v="14" actId="478"/>
          <ac:spMkLst>
            <pc:docMk/>
            <pc:sldMk cId="360173524" sldId="8684"/>
            <ac:spMk id="2" creationId="{F6DA763B-66AF-4A82-86F2-F48708DE8822}"/>
          </ac:spMkLst>
        </pc:spChg>
        <pc:spChg chg="del mod">
          <ac:chgData name="Tan, John" userId="e70e5845-51ac-4a37-9e2a-8249abf76bce" providerId="ADAL" clId="{49CB3106-2DA7-47FE-962F-A7C965086530}" dt="2022-01-03T12:16:07.681" v="229" actId="21"/>
          <ac:spMkLst>
            <pc:docMk/>
            <pc:sldMk cId="360173524" sldId="8684"/>
            <ac:spMk id="3" creationId="{0923B103-68C6-4505-86EF-910D793F0E9B}"/>
          </ac:spMkLst>
        </pc:spChg>
        <pc:spChg chg="mod">
          <ac:chgData name="Tan, John" userId="e70e5845-51ac-4a37-9e2a-8249abf76bce" providerId="ADAL" clId="{49CB3106-2DA7-47FE-962F-A7C965086530}" dt="2022-01-03T12:16:31.131" v="256" actId="20577"/>
          <ac:spMkLst>
            <pc:docMk/>
            <pc:sldMk cId="360173524" sldId="8684"/>
            <ac:spMk id="4" creationId="{CBCAF622-6D0D-4EB2-9E22-03ED511561F2}"/>
          </ac:spMkLst>
        </pc:spChg>
        <pc:spChg chg="add mod">
          <ac:chgData name="Tan, John" userId="e70e5845-51ac-4a37-9e2a-8249abf76bce" providerId="ADAL" clId="{49CB3106-2DA7-47FE-962F-A7C965086530}" dt="2022-01-03T12:14:43.884" v="176" actId="14100"/>
          <ac:spMkLst>
            <pc:docMk/>
            <pc:sldMk cId="360173524" sldId="8684"/>
            <ac:spMk id="19" creationId="{DD4C7C97-F1AB-4AD7-9517-0152755C46F8}"/>
          </ac:spMkLst>
        </pc:spChg>
        <pc:spChg chg="add mod">
          <ac:chgData name="Tan, John" userId="e70e5845-51ac-4a37-9e2a-8249abf76bce" providerId="ADAL" clId="{49CB3106-2DA7-47FE-962F-A7C965086530}" dt="2022-01-03T12:16:13.002" v="230" actId="1076"/>
          <ac:spMkLst>
            <pc:docMk/>
            <pc:sldMk cId="360173524" sldId="8684"/>
            <ac:spMk id="21" creationId="{1CAFD677-2EA0-4BF1-B6A4-284B6008E449}"/>
          </ac:spMkLst>
        </pc:spChg>
        <pc:spChg chg="add mod">
          <ac:chgData name="Tan, John" userId="e70e5845-51ac-4a37-9e2a-8249abf76bce" providerId="ADAL" clId="{49CB3106-2DA7-47FE-962F-A7C965086530}" dt="2022-01-03T12:15:35.858" v="228" actId="1076"/>
          <ac:spMkLst>
            <pc:docMk/>
            <pc:sldMk cId="360173524" sldId="8684"/>
            <ac:spMk id="22" creationId="{334EFA3C-FF6D-42D3-B5C8-EB042F35174E}"/>
          </ac:spMkLst>
        </pc:spChg>
        <pc:picChg chg="add del mod ord modCrop">
          <ac:chgData name="Tan, John" userId="e70e5845-51ac-4a37-9e2a-8249abf76bce" providerId="ADAL" clId="{49CB3106-2DA7-47FE-962F-A7C965086530}" dt="2022-01-03T12:04:59.601" v="9" actId="22"/>
          <ac:picMkLst>
            <pc:docMk/>
            <pc:sldMk cId="360173524" sldId="8684"/>
            <ac:picMk id="6" creationId="{BD177CBE-5B68-4614-8BEF-CD565882E32A}"/>
          </ac:picMkLst>
        </pc:picChg>
        <pc:picChg chg="add del mod ord modCrop">
          <ac:chgData name="Tan, John" userId="e70e5845-51ac-4a37-9e2a-8249abf76bce" providerId="ADAL" clId="{49CB3106-2DA7-47FE-962F-A7C965086530}" dt="2022-01-03T12:05:05.064" v="11" actId="22"/>
          <ac:picMkLst>
            <pc:docMk/>
            <pc:sldMk cId="360173524" sldId="8684"/>
            <ac:picMk id="8" creationId="{C7F33281-08D4-4474-B37E-899B3C6F0A76}"/>
          </ac:picMkLst>
        </pc:picChg>
        <pc:picChg chg="add del mod">
          <ac:chgData name="Tan, John" userId="e70e5845-51ac-4a37-9e2a-8249abf76bce" providerId="ADAL" clId="{49CB3106-2DA7-47FE-962F-A7C965086530}" dt="2022-01-03T12:06:29.429" v="23" actId="478"/>
          <ac:picMkLst>
            <pc:docMk/>
            <pc:sldMk cId="360173524" sldId="8684"/>
            <ac:picMk id="10" creationId="{91BF0F02-6E1E-4738-9A53-0C0A9CBC7223}"/>
          </ac:picMkLst>
        </pc:picChg>
        <pc:picChg chg="add mod">
          <ac:chgData name="Tan, John" userId="e70e5845-51ac-4a37-9e2a-8249abf76bce" providerId="ADAL" clId="{49CB3106-2DA7-47FE-962F-A7C965086530}" dt="2022-01-03T12:07:26.539" v="29" actId="14100"/>
          <ac:picMkLst>
            <pc:docMk/>
            <pc:sldMk cId="360173524" sldId="8684"/>
            <ac:picMk id="12" creationId="{F3D04EDE-9EF6-4DD0-99DA-2CFB82CCB0F9}"/>
          </ac:picMkLst>
        </pc:picChg>
        <pc:picChg chg="add mod">
          <ac:chgData name="Tan, John" userId="e70e5845-51ac-4a37-9e2a-8249abf76bce" providerId="ADAL" clId="{49CB3106-2DA7-47FE-962F-A7C965086530}" dt="2022-01-03T12:08:31.611" v="33" actId="1076"/>
          <ac:picMkLst>
            <pc:docMk/>
            <pc:sldMk cId="360173524" sldId="8684"/>
            <ac:picMk id="14" creationId="{978A87FC-4358-45C8-B3D7-C28250BCB08D}"/>
          </ac:picMkLst>
        </pc:picChg>
        <pc:picChg chg="add mod">
          <ac:chgData name="Tan, John" userId="e70e5845-51ac-4a37-9e2a-8249abf76bce" providerId="ADAL" clId="{49CB3106-2DA7-47FE-962F-A7C965086530}" dt="2022-01-03T12:09:09.107" v="36" actId="14100"/>
          <ac:picMkLst>
            <pc:docMk/>
            <pc:sldMk cId="360173524" sldId="8684"/>
            <ac:picMk id="16" creationId="{409927B5-BE86-428B-BBC8-0F7FD039AA79}"/>
          </ac:picMkLst>
        </pc:picChg>
        <pc:picChg chg="add mod">
          <ac:chgData name="Tan, John" userId="e70e5845-51ac-4a37-9e2a-8249abf76bce" providerId="ADAL" clId="{49CB3106-2DA7-47FE-962F-A7C965086530}" dt="2022-01-03T12:09:55.644" v="39" actId="14100"/>
          <ac:picMkLst>
            <pc:docMk/>
            <pc:sldMk cId="360173524" sldId="8684"/>
            <ac:picMk id="18" creationId="{92942E96-9B3C-4534-B219-A6604BD87F3E}"/>
          </ac:picMkLst>
        </pc:picChg>
      </pc:sldChg>
      <pc:sldChg chg="modSp mod ord modNotesTx">
        <pc:chgData name="Tan, John" userId="e70e5845-51ac-4a37-9e2a-8249abf76bce" providerId="ADAL" clId="{49CB3106-2DA7-47FE-962F-A7C965086530}" dt="2022-01-10T02:31:55.081" v="2242" actId="20577"/>
        <pc:sldMkLst>
          <pc:docMk/>
          <pc:sldMk cId="3293912" sldId="8685"/>
        </pc:sldMkLst>
        <pc:spChg chg="mod">
          <ac:chgData name="Tan, John" userId="e70e5845-51ac-4a37-9e2a-8249abf76bce" providerId="ADAL" clId="{49CB3106-2DA7-47FE-962F-A7C965086530}" dt="2022-01-04T01:16:16.632" v="330" actId="255"/>
          <ac:spMkLst>
            <pc:docMk/>
            <pc:sldMk cId="3293912" sldId="8685"/>
            <ac:spMk id="4" creationId="{CBCAF622-6D0D-4EB2-9E22-03ED511561F2}"/>
          </ac:spMkLst>
        </pc:spChg>
      </pc:sldChg>
      <pc:sldChg chg="addSp delSp modSp new add del mod modClrScheme chgLayout">
        <pc:chgData name="Tan, John" userId="e70e5845-51ac-4a37-9e2a-8249abf76bce" providerId="ADAL" clId="{49CB3106-2DA7-47FE-962F-A7C965086530}" dt="2022-01-03T12:43:48.661" v="283" actId="47"/>
        <pc:sldMkLst>
          <pc:docMk/>
          <pc:sldMk cId="1548364718" sldId="8686"/>
        </pc:sldMkLst>
        <pc:spChg chg="del">
          <ac:chgData name="Tan, John" userId="e70e5845-51ac-4a37-9e2a-8249abf76bce" providerId="ADAL" clId="{49CB3106-2DA7-47FE-962F-A7C965086530}" dt="2022-01-03T12:42:00.680" v="271" actId="478"/>
          <ac:spMkLst>
            <pc:docMk/>
            <pc:sldMk cId="1548364718" sldId="8686"/>
            <ac:spMk id="2" creationId="{AFAF94C5-96E5-4EFD-A445-F161A6F41A1A}"/>
          </ac:spMkLst>
        </pc:spChg>
        <pc:spChg chg="del">
          <ac:chgData name="Tan, John" userId="e70e5845-51ac-4a37-9e2a-8249abf76bce" providerId="ADAL" clId="{49CB3106-2DA7-47FE-962F-A7C965086530}" dt="2022-01-03T12:41:37.629" v="270" actId="21"/>
          <ac:spMkLst>
            <pc:docMk/>
            <pc:sldMk cId="1548364718" sldId="8686"/>
            <ac:spMk id="3" creationId="{13DD1259-23D6-4552-AB10-990E9705CDBE}"/>
          </ac:spMkLst>
        </pc:spChg>
        <pc:spChg chg="del">
          <ac:chgData name="Tan, John" userId="e70e5845-51ac-4a37-9e2a-8249abf76bce" providerId="ADAL" clId="{49CB3106-2DA7-47FE-962F-A7C965086530}" dt="2022-01-03T12:43:10.330" v="278" actId="26606"/>
          <ac:spMkLst>
            <pc:docMk/>
            <pc:sldMk cId="1548364718" sldId="8686"/>
            <ac:spMk id="4" creationId="{64B6C112-062B-4432-9B0F-D6203D4DA1EF}"/>
          </ac:spMkLst>
        </pc:spChg>
        <pc:picChg chg="add mod">
          <ac:chgData name="Tan, John" userId="e70e5845-51ac-4a37-9e2a-8249abf76bce" providerId="ADAL" clId="{49CB3106-2DA7-47FE-962F-A7C965086530}" dt="2022-01-03T12:43:21.627" v="280" actId="14100"/>
          <ac:picMkLst>
            <pc:docMk/>
            <pc:sldMk cId="1548364718" sldId="8686"/>
            <ac:picMk id="5" creationId="{5C8900A9-E9FC-4827-8778-792177B8033A}"/>
          </ac:picMkLst>
        </pc:picChg>
      </pc:sldChg>
      <pc:sldChg chg="del">
        <pc:chgData name="Tan, John" userId="e70e5845-51ac-4a37-9e2a-8249abf76bce" providerId="ADAL" clId="{49CB3106-2DA7-47FE-962F-A7C965086530}" dt="2022-01-03T12:44:00.625" v="284" actId="47"/>
        <pc:sldMkLst>
          <pc:docMk/>
          <pc:sldMk cId="450079914" sldId="8687"/>
        </pc:sldMkLst>
      </pc:sldChg>
      <pc:sldChg chg="addSp delSp add del setBg delDesignElem">
        <pc:chgData name="Tan, John" userId="e70e5845-51ac-4a37-9e2a-8249abf76bce" providerId="ADAL" clId="{49CB3106-2DA7-47FE-962F-A7C965086530}" dt="2022-01-03T12:42:14.960" v="274"/>
        <pc:sldMkLst>
          <pc:docMk/>
          <pc:sldMk cId="568969142" sldId="8687"/>
        </pc:sldMkLst>
        <pc:spChg chg="add del">
          <ac:chgData name="Tan, John" userId="e70e5845-51ac-4a37-9e2a-8249abf76bce" providerId="ADAL" clId="{49CB3106-2DA7-47FE-962F-A7C965086530}" dt="2022-01-03T12:42:14.960" v="274"/>
          <ac:spMkLst>
            <pc:docMk/>
            <pc:sldMk cId="568969142" sldId="8687"/>
            <ac:spMk id="8" creationId="{6F5A5072-7B47-4D32-B52A-4EBBF590B8A5}"/>
          </ac:spMkLst>
        </pc:spChg>
        <pc:spChg chg="add del">
          <ac:chgData name="Tan, John" userId="e70e5845-51ac-4a37-9e2a-8249abf76bce" providerId="ADAL" clId="{49CB3106-2DA7-47FE-962F-A7C965086530}" dt="2022-01-03T12:42:14.960" v="274"/>
          <ac:spMkLst>
            <pc:docMk/>
            <pc:sldMk cId="568969142" sldId="8687"/>
            <ac:spMk id="10" creationId="{9715DAF0-AE1B-46C9-8A6B-DB2AA05AB91D}"/>
          </ac:spMkLst>
        </pc:spChg>
        <pc:spChg chg="add del">
          <ac:chgData name="Tan, John" userId="e70e5845-51ac-4a37-9e2a-8249abf76bce" providerId="ADAL" clId="{49CB3106-2DA7-47FE-962F-A7C965086530}" dt="2022-01-03T12:42:14.960" v="274"/>
          <ac:spMkLst>
            <pc:docMk/>
            <pc:sldMk cId="568969142" sldId="8687"/>
            <ac:spMk id="12" creationId="{6016219D-510E-4184-9090-6D5578A87BD1}"/>
          </ac:spMkLst>
        </pc:spChg>
        <pc:spChg chg="add del">
          <ac:chgData name="Tan, John" userId="e70e5845-51ac-4a37-9e2a-8249abf76bce" providerId="ADAL" clId="{49CB3106-2DA7-47FE-962F-A7C965086530}" dt="2022-01-03T12:42:14.960" v="274"/>
          <ac:spMkLst>
            <pc:docMk/>
            <pc:sldMk cId="568969142" sldId="8687"/>
            <ac:spMk id="14" creationId="{AFF4A713-7B75-4B21-90D7-5AB19547C728}"/>
          </ac:spMkLst>
        </pc:spChg>
        <pc:spChg chg="add del">
          <ac:chgData name="Tan, John" userId="e70e5845-51ac-4a37-9e2a-8249abf76bce" providerId="ADAL" clId="{49CB3106-2DA7-47FE-962F-A7C965086530}" dt="2022-01-03T12:42:14.960" v="274"/>
          <ac:spMkLst>
            <pc:docMk/>
            <pc:sldMk cId="568969142" sldId="8687"/>
            <ac:spMk id="16" creationId="{DC631C0B-6DA6-4E57-8231-CE32B3434A7E}"/>
          </ac:spMkLst>
        </pc:spChg>
        <pc:spChg chg="add del">
          <ac:chgData name="Tan, John" userId="e70e5845-51ac-4a37-9e2a-8249abf76bce" providerId="ADAL" clId="{49CB3106-2DA7-47FE-962F-A7C965086530}" dt="2022-01-03T12:42:14.960" v="274"/>
          <ac:spMkLst>
            <pc:docMk/>
            <pc:sldMk cId="568969142" sldId="8687"/>
            <ac:spMk id="18" creationId="{C29501E6-A978-4A61-9689-9085AF97A53A}"/>
          </ac:spMkLst>
        </pc:spChg>
      </pc:sldChg>
      <pc:sldChg chg="add del">
        <pc:chgData name="Tan, John" userId="e70e5845-51ac-4a37-9e2a-8249abf76bce" providerId="ADAL" clId="{49CB3106-2DA7-47FE-962F-A7C965086530}" dt="2022-01-03T12:42:50.110" v="276"/>
        <pc:sldMkLst>
          <pc:docMk/>
          <pc:sldMk cId="1400002506" sldId="8687"/>
        </pc:sldMkLst>
      </pc:sldChg>
      <pc:sldChg chg="addSp delSp modSp new mod modAnim">
        <pc:chgData name="Tan, John" userId="e70e5845-51ac-4a37-9e2a-8249abf76bce" providerId="ADAL" clId="{49CB3106-2DA7-47FE-962F-A7C965086530}" dt="2022-01-04T12:36:39.454" v="1140" actId="14100"/>
        <pc:sldMkLst>
          <pc:docMk/>
          <pc:sldMk cId="3565487577" sldId="8689"/>
        </pc:sldMkLst>
        <pc:spChg chg="del">
          <ac:chgData name="Tan, John" userId="e70e5845-51ac-4a37-9e2a-8249abf76bce" providerId="ADAL" clId="{49CB3106-2DA7-47FE-962F-A7C965086530}" dt="2022-01-04T12:19:25.694" v="640" actId="478"/>
          <ac:spMkLst>
            <pc:docMk/>
            <pc:sldMk cId="3565487577" sldId="8689"/>
            <ac:spMk id="2" creationId="{9E4C930A-6641-4A32-B0E4-EB5881903616}"/>
          </ac:spMkLst>
        </pc:spChg>
        <pc:spChg chg="del mod">
          <ac:chgData name="Tan, John" userId="e70e5845-51ac-4a37-9e2a-8249abf76bce" providerId="ADAL" clId="{49CB3106-2DA7-47FE-962F-A7C965086530}" dt="2022-01-04T12:29:26.818" v="1076" actId="26606"/>
          <ac:spMkLst>
            <pc:docMk/>
            <pc:sldMk cId="3565487577" sldId="8689"/>
            <ac:spMk id="3" creationId="{8C2D7EF1-B417-4087-8B0A-4E6A9824E24C}"/>
          </ac:spMkLst>
        </pc:spChg>
        <pc:spChg chg="mod">
          <ac:chgData name="Tan, John" userId="e70e5845-51ac-4a37-9e2a-8249abf76bce" providerId="ADAL" clId="{49CB3106-2DA7-47FE-962F-A7C965086530}" dt="2022-01-04T12:36:24.382" v="1137" actId="1076"/>
          <ac:spMkLst>
            <pc:docMk/>
            <pc:sldMk cId="3565487577" sldId="8689"/>
            <ac:spMk id="4" creationId="{A0B8C605-9FF2-46AF-833E-C347D83CAF99}"/>
          </ac:spMkLst>
        </pc:spChg>
        <pc:spChg chg="add del mod">
          <ac:chgData name="Tan, John" userId="e70e5845-51ac-4a37-9e2a-8249abf76bce" providerId="ADAL" clId="{49CB3106-2DA7-47FE-962F-A7C965086530}" dt="2022-01-04T12:19:45.215" v="644" actId="22"/>
          <ac:spMkLst>
            <pc:docMk/>
            <pc:sldMk cId="3565487577" sldId="8689"/>
            <ac:spMk id="6" creationId="{A34CB649-D471-4425-A291-D278C9AAC60A}"/>
          </ac:spMkLst>
        </pc:spChg>
        <pc:spChg chg="add mod">
          <ac:chgData name="Tan, John" userId="e70e5845-51ac-4a37-9e2a-8249abf76bce" providerId="ADAL" clId="{49CB3106-2DA7-47FE-962F-A7C965086530}" dt="2022-01-04T12:33:07.981" v="1105" actId="1076"/>
          <ac:spMkLst>
            <pc:docMk/>
            <pc:sldMk cId="3565487577" sldId="8689"/>
            <ac:spMk id="8" creationId="{A3D2432C-15EF-460D-BCDE-618C1EF41598}"/>
          </ac:spMkLst>
        </pc:spChg>
        <pc:graphicFrameChg chg="add mod">
          <ac:chgData name="Tan, John" userId="e70e5845-51ac-4a37-9e2a-8249abf76bce" providerId="ADAL" clId="{49CB3106-2DA7-47FE-962F-A7C965086530}" dt="2022-01-04T12:35:11.533" v="1122"/>
          <ac:graphicFrameMkLst>
            <pc:docMk/>
            <pc:sldMk cId="3565487577" sldId="8689"/>
            <ac:graphicFrameMk id="11" creationId="{6DF7B7A9-BEBA-4507-9860-414BDB1DA960}"/>
          </ac:graphicFrameMkLst>
        </pc:graphicFrameChg>
        <pc:picChg chg="add mod">
          <ac:chgData name="Tan, John" userId="e70e5845-51ac-4a37-9e2a-8249abf76bce" providerId="ADAL" clId="{49CB3106-2DA7-47FE-962F-A7C965086530}" dt="2022-01-04T12:36:39.454" v="1140" actId="14100"/>
          <ac:picMkLst>
            <pc:docMk/>
            <pc:sldMk cId="3565487577" sldId="8689"/>
            <ac:picMk id="9" creationId="{9560868E-998E-4B2D-A33C-342213B6405A}"/>
          </ac:picMkLst>
        </pc:picChg>
      </pc:sldChg>
      <pc:sldChg chg="addSp modSp new mod modClrScheme chgLayout modNotesTx">
        <pc:chgData name="Tan, John" userId="e70e5845-51ac-4a37-9e2a-8249abf76bce" providerId="ADAL" clId="{49CB3106-2DA7-47FE-962F-A7C965086530}" dt="2022-01-10T04:01:15.079" v="3035" actId="20577"/>
        <pc:sldMkLst>
          <pc:docMk/>
          <pc:sldMk cId="2594606330" sldId="8690"/>
        </pc:sldMkLst>
        <pc:spChg chg="mod ord">
          <ac:chgData name="Tan, John" userId="e70e5845-51ac-4a37-9e2a-8249abf76bce" providerId="ADAL" clId="{49CB3106-2DA7-47FE-962F-A7C965086530}" dt="2022-01-10T03:57:43.754" v="2849" actId="26606"/>
          <ac:spMkLst>
            <pc:docMk/>
            <pc:sldMk cId="2594606330" sldId="8690"/>
            <ac:spMk id="2" creationId="{945BA80F-EA69-4D3C-9E2A-F68E5F8492CB}"/>
          </ac:spMkLst>
        </pc:spChg>
        <pc:spChg chg="add mod">
          <ac:chgData name="Tan, John" userId="e70e5845-51ac-4a37-9e2a-8249abf76bce" providerId="ADAL" clId="{49CB3106-2DA7-47FE-962F-A7C965086530}" dt="2022-01-10T04:00:13.495" v="2975" actId="14100"/>
          <ac:spMkLst>
            <pc:docMk/>
            <pc:sldMk cId="2594606330" sldId="8690"/>
            <ac:spMk id="9" creationId="{97282A27-EA0D-442A-B9FB-C440C2AF39F0}"/>
          </ac:spMkLst>
        </pc:spChg>
        <pc:picChg chg="add mod">
          <ac:chgData name="Tan, John" userId="e70e5845-51ac-4a37-9e2a-8249abf76bce" providerId="ADAL" clId="{49CB3106-2DA7-47FE-962F-A7C965086530}" dt="2022-01-10T03:57:43.754" v="2849" actId="26606"/>
          <ac:picMkLst>
            <pc:docMk/>
            <pc:sldMk cId="2594606330" sldId="8690"/>
            <ac:picMk id="4" creationId="{F6DDCE22-0C7C-40B5-A1F6-E45FAEA6404A}"/>
          </ac:picMkLst>
        </pc:picChg>
      </pc:sldChg>
      <pc:sldMasterChg chg="delSldLayout">
        <pc:chgData name="Tan, John" userId="e70e5845-51ac-4a37-9e2a-8249abf76bce" providerId="ADAL" clId="{49CB3106-2DA7-47FE-962F-A7C965086530}" dt="2022-01-03T12:44:00.625" v="284" actId="47"/>
        <pc:sldMasterMkLst>
          <pc:docMk/>
          <pc:sldMasterMk cId="3323367516" sldId="2147483648"/>
        </pc:sldMasterMkLst>
        <pc:sldLayoutChg chg="del">
          <pc:chgData name="Tan, John" userId="e70e5845-51ac-4a37-9e2a-8249abf76bce" providerId="ADAL" clId="{49CB3106-2DA7-47FE-962F-A7C965086530}" dt="2022-01-03T12:44:00.625" v="284" actId="47"/>
          <pc:sldLayoutMkLst>
            <pc:docMk/>
            <pc:sldMasterMk cId="3323367516" sldId="2147483648"/>
            <pc:sldLayoutMk cId="3892559572" sldId="2147483693"/>
          </pc:sldLayoutMkLst>
        </pc:sldLayoutChg>
      </pc:sldMasterChg>
    </pc:docChg>
  </pc:docChgLst>
  <pc:docChgLst>
    <pc:chgData name="Tan, John" userId="e70e5845-51ac-4a37-9e2a-8249abf76bce" providerId="ADAL" clId="{C6AF2823-2C75-4FCD-BFFB-3B515502E7A2}"/>
    <pc:docChg chg="undo custSel addSld delSld modSld sldOrd delMainMaster">
      <pc:chgData name="Tan, John" userId="e70e5845-51ac-4a37-9e2a-8249abf76bce" providerId="ADAL" clId="{C6AF2823-2C75-4FCD-BFFB-3B515502E7A2}" dt="2022-01-03T02:54:24.673" v="4920" actId="6549"/>
      <pc:docMkLst>
        <pc:docMk/>
      </pc:docMkLst>
      <pc:sldChg chg="modSp mod">
        <pc:chgData name="Tan, John" userId="e70e5845-51ac-4a37-9e2a-8249abf76bce" providerId="ADAL" clId="{C6AF2823-2C75-4FCD-BFFB-3B515502E7A2}" dt="2022-01-03T00:57:54.688" v="3993" actId="2711"/>
        <pc:sldMkLst>
          <pc:docMk/>
          <pc:sldMk cId="4126400293" sldId="256"/>
        </pc:sldMkLst>
        <pc:spChg chg="mod">
          <ac:chgData name="Tan, John" userId="e70e5845-51ac-4a37-9e2a-8249abf76bce" providerId="ADAL" clId="{C6AF2823-2C75-4FCD-BFFB-3B515502E7A2}" dt="2022-01-03T00:57:54.688" v="3993" actId="2711"/>
          <ac:spMkLst>
            <pc:docMk/>
            <pc:sldMk cId="4126400293" sldId="256"/>
            <ac:spMk id="2" creationId="{D1F33B08-14B2-4B5B-BAB4-E82B971370B7}"/>
          </ac:spMkLst>
        </pc:spChg>
      </pc:sldChg>
      <pc:sldChg chg="modSp mod">
        <pc:chgData name="Tan, John" userId="e70e5845-51ac-4a37-9e2a-8249abf76bce" providerId="ADAL" clId="{C6AF2823-2C75-4FCD-BFFB-3B515502E7A2}" dt="2022-01-03T02:02:28.368" v="4901" actId="20577"/>
        <pc:sldMkLst>
          <pc:docMk/>
          <pc:sldMk cId="171252689" sldId="280"/>
        </pc:sldMkLst>
        <pc:spChg chg="mod">
          <ac:chgData name="Tan, John" userId="e70e5845-51ac-4a37-9e2a-8249abf76bce" providerId="ADAL" clId="{C6AF2823-2C75-4FCD-BFFB-3B515502E7A2}" dt="2022-01-03T02:02:28.368" v="4901" actId="20577"/>
          <ac:spMkLst>
            <pc:docMk/>
            <pc:sldMk cId="171252689" sldId="280"/>
            <ac:spMk id="2" creationId="{00000000-0000-0000-0000-000000000000}"/>
          </ac:spMkLst>
        </pc:spChg>
        <pc:spChg chg="mod">
          <ac:chgData name="Tan, John" userId="e70e5845-51ac-4a37-9e2a-8249abf76bce" providerId="ADAL" clId="{C6AF2823-2C75-4FCD-BFFB-3B515502E7A2}" dt="2022-01-03T01:56:14.526" v="4649" actId="14100"/>
          <ac:spMkLst>
            <pc:docMk/>
            <pc:sldMk cId="171252689" sldId="280"/>
            <ac:spMk id="3" creationId="{00000000-0000-0000-0000-000000000000}"/>
          </ac:spMkLst>
        </pc:spChg>
      </pc:sldChg>
      <pc:sldChg chg="addSp modSp mod">
        <pc:chgData name="Tan, John" userId="e70e5845-51ac-4a37-9e2a-8249abf76bce" providerId="ADAL" clId="{C6AF2823-2C75-4FCD-BFFB-3B515502E7A2}" dt="2022-01-03T02:21:08.038" v="4907" actId="20577"/>
        <pc:sldMkLst>
          <pc:docMk/>
          <pc:sldMk cId="575224185" sldId="512"/>
        </pc:sldMkLst>
        <pc:spChg chg="add mod ord">
          <ac:chgData name="Tan, John" userId="e70e5845-51ac-4a37-9e2a-8249abf76bce" providerId="ADAL" clId="{C6AF2823-2C75-4FCD-BFFB-3B515502E7A2}" dt="2022-01-03T01:51:58.408" v="4558" actId="20577"/>
          <ac:spMkLst>
            <pc:docMk/>
            <pc:sldMk cId="575224185" sldId="512"/>
            <ac:spMk id="3" creationId="{73478703-D39B-41B3-9107-673830ADFBF6}"/>
          </ac:spMkLst>
        </pc:spChg>
        <pc:spChg chg="mod">
          <ac:chgData name="Tan, John" userId="e70e5845-51ac-4a37-9e2a-8249abf76bce" providerId="ADAL" clId="{C6AF2823-2C75-4FCD-BFFB-3B515502E7A2}" dt="2022-01-03T01:52:27.827" v="4561" actId="207"/>
          <ac:spMkLst>
            <pc:docMk/>
            <pc:sldMk cId="575224185" sldId="512"/>
            <ac:spMk id="4" creationId="{C284A6CB-03BC-4138-B312-E4BD4F330875}"/>
          </ac:spMkLst>
        </pc:spChg>
        <pc:spChg chg="mod">
          <ac:chgData name="Tan, John" userId="e70e5845-51ac-4a37-9e2a-8249abf76bce" providerId="ADAL" clId="{C6AF2823-2C75-4FCD-BFFB-3B515502E7A2}" dt="2022-01-03T01:47:27.060" v="4421" actId="20577"/>
          <ac:spMkLst>
            <pc:docMk/>
            <pc:sldMk cId="575224185" sldId="512"/>
            <ac:spMk id="9" creationId="{20B484E6-488B-4B29-99E6-80589FD28E04}"/>
          </ac:spMkLst>
        </pc:spChg>
        <pc:spChg chg="mod">
          <ac:chgData name="Tan, John" userId="e70e5845-51ac-4a37-9e2a-8249abf76bce" providerId="ADAL" clId="{C6AF2823-2C75-4FCD-BFFB-3B515502E7A2}" dt="2022-01-03T01:50:49.192" v="4551" actId="207"/>
          <ac:spMkLst>
            <pc:docMk/>
            <pc:sldMk cId="575224185" sldId="512"/>
            <ac:spMk id="13" creationId="{46A990B5-74F8-4756-A422-7BE14246F9FA}"/>
          </ac:spMkLst>
        </pc:spChg>
        <pc:spChg chg="mod">
          <ac:chgData name="Tan, John" userId="e70e5845-51ac-4a37-9e2a-8249abf76bce" providerId="ADAL" clId="{C6AF2823-2C75-4FCD-BFFB-3B515502E7A2}" dt="2022-01-03T02:21:08.038" v="4907" actId="20577"/>
          <ac:spMkLst>
            <pc:docMk/>
            <pc:sldMk cId="575224185" sldId="512"/>
            <ac:spMk id="32" creationId="{5E57DE52-7712-4FD6-BC93-8E6CC590C3C7}"/>
          </ac:spMkLst>
        </pc:spChg>
        <pc:spChg chg="mod">
          <ac:chgData name="Tan, John" userId="e70e5845-51ac-4a37-9e2a-8249abf76bce" providerId="ADAL" clId="{C6AF2823-2C75-4FCD-BFFB-3B515502E7A2}" dt="2022-01-03T01:52:59.814" v="4573" actId="14100"/>
          <ac:spMkLst>
            <pc:docMk/>
            <pc:sldMk cId="575224185" sldId="512"/>
            <ac:spMk id="34" creationId="{FEFAB3A0-B522-4269-82D8-B651537EE33E}"/>
          </ac:spMkLst>
        </pc:spChg>
        <pc:spChg chg="mod">
          <ac:chgData name="Tan, John" userId="e70e5845-51ac-4a37-9e2a-8249abf76bce" providerId="ADAL" clId="{C6AF2823-2C75-4FCD-BFFB-3B515502E7A2}" dt="2022-01-03T01:50:39.968" v="4550" actId="2711"/>
          <ac:spMkLst>
            <pc:docMk/>
            <pc:sldMk cId="575224185" sldId="512"/>
            <ac:spMk id="38" creationId="{16F8AFDB-255D-47DA-A47E-15AF8D341C92}"/>
          </ac:spMkLst>
        </pc:spChg>
        <pc:spChg chg="mod">
          <ac:chgData name="Tan, John" userId="e70e5845-51ac-4a37-9e2a-8249abf76bce" providerId="ADAL" clId="{C6AF2823-2C75-4FCD-BFFB-3B515502E7A2}" dt="2022-01-03T01:50:26.188" v="4547" actId="1076"/>
          <ac:spMkLst>
            <pc:docMk/>
            <pc:sldMk cId="575224185" sldId="512"/>
            <ac:spMk id="40" creationId="{792DE71E-E202-4B7B-A175-625ED1E2AAC8}"/>
          </ac:spMkLst>
        </pc:spChg>
      </pc:sldChg>
      <pc:sldChg chg="del ord">
        <pc:chgData name="Tan, John" userId="e70e5845-51ac-4a37-9e2a-8249abf76bce" providerId="ADAL" clId="{C6AF2823-2C75-4FCD-BFFB-3B515502E7A2}" dt="2022-01-03T01:42:07.131" v="4308" actId="47"/>
        <pc:sldMkLst>
          <pc:docMk/>
          <pc:sldMk cId="614164657" sldId="8649"/>
        </pc:sldMkLst>
      </pc:sldChg>
      <pc:sldChg chg="ord">
        <pc:chgData name="Tan, John" userId="e70e5845-51ac-4a37-9e2a-8249abf76bce" providerId="ADAL" clId="{C6AF2823-2C75-4FCD-BFFB-3B515502E7A2}" dt="2022-01-03T01:33:29" v="4176"/>
        <pc:sldMkLst>
          <pc:docMk/>
          <pc:sldMk cId="541947743" sldId="8655"/>
        </pc:sldMkLst>
      </pc:sldChg>
      <pc:sldChg chg="del">
        <pc:chgData name="Tan, John" userId="e70e5845-51ac-4a37-9e2a-8249abf76bce" providerId="ADAL" clId="{C6AF2823-2C75-4FCD-BFFB-3B515502E7A2}" dt="2022-01-01T06:37:07.800" v="3475" actId="2696"/>
        <pc:sldMkLst>
          <pc:docMk/>
          <pc:sldMk cId="710846497" sldId="8655"/>
        </pc:sldMkLst>
      </pc:sldChg>
      <pc:sldChg chg="addSp modSp del mod">
        <pc:chgData name="Tan, John" userId="e70e5845-51ac-4a37-9e2a-8249abf76bce" providerId="ADAL" clId="{C6AF2823-2C75-4FCD-BFFB-3B515502E7A2}" dt="2022-01-03T01:11:12.752" v="4053" actId="47"/>
        <pc:sldMkLst>
          <pc:docMk/>
          <pc:sldMk cId="1122996333" sldId="8656"/>
        </pc:sldMkLst>
        <pc:spChg chg="mod">
          <ac:chgData name="Tan, John" userId="e70e5845-51ac-4a37-9e2a-8249abf76bce" providerId="ADAL" clId="{C6AF2823-2C75-4FCD-BFFB-3B515502E7A2}" dt="2021-12-29T01:33:27.016" v="62" actId="1076"/>
          <ac:spMkLst>
            <pc:docMk/>
            <pc:sldMk cId="1122996333" sldId="8656"/>
            <ac:spMk id="3" creationId="{735D6746-41D2-43B7-B3FF-1A6175398D06}"/>
          </ac:spMkLst>
        </pc:spChg>
        <pc:spChg chg="add mod">
          <ac:chgData name="Tan, John" userId="e70e5845-51ac-4a37-9e2a-8249abf76bce" providerId="ADAL" clId="{C6AF2823-2C75-4FCD-BFFB-3B515502E7A2}" dt="2021-12-29T01:42:41.292" v="259" actId="255"/>
          <ac:spMkLst>
            <pc:docMk/>
            <pc:sldMk cId="1122996333" sldId="8656"/>
            <ac:spMk id="6" creationId="{9381DB5F-8F75-4C9B-BA5C-767C6A38DE20}"/>
          </ac:spMkLst>
        </pc:spChg>
        <pc:picChg chg="add mod">
          <ac:chgData name="Tan, John" userId="e70e5845-51ac-4a37-9e2a-8249abf76bce" providerId="ADAL" clId="{C6AF2823-2C75-4FCD-BFFB-3B515502E7A2}" dt="2021-12-29T01:42:33.135" v="258" actId="14100"/>
          <ac:picMkLst>
            <pc:docMk/>
            <pc:sldMk cId="1122996333" sldId="8656"/>
            <ac:picMk id="5" creationId="{AA5CFDDF-2304-495A-A41B-321D4C2346B2}"/>
          </ac:picMkLst>
        </pc:picChg>
      </pc:sldChg>
      <pc:sldChg chg="addSp delSp modSp new mod modClrScheme chgLayout">
        <pc:chgData name="Tan, John" userId="e70e5845-51ac-4a37-9e2a-8249abf76bce" providerId="ADAL" clId="{C6AF2823-2C75-4FCD-BFFB-3B515502E7A2}" dt="2021-12-31T02:28:17.749" v="2739" actId="255"/>
        <pc:sldMkLst>
          <pc:docMk/>
          <pc:sldMk cId="812179340" sldId="8657"/>
        </pc:sldMkLst>
        <pc:spChg chg="del">
          <ac:chgData name="Tan, John" userId="e70e5845-51ac-4a37-9e2a-8249abf76bce" providerId="ADAL" clId="{C6AF2823-2C75-4FCD-BFFB-3B515502E7A2}" dt="2021-12-30T13:19:48.261" v="1422" actId="26606"/>
          <ac:spMkLst>
            <pc:docMk/>
            <pc:sldMk cId="812179340" sldId="8657"/>
            <ac:spMk id="2" creationId="{ADD50D84-9AE6-4A21-82A7-DE385C01135A}"/>
          </ac:spMkLst>
        </pc:spChg>
        <pc:spChg chg="add mod">
          <ac:chgData name="Tan, John" userId="e70e5845-51ac-4a37-9e2a-8249abf76bce" providerId="ADAL" clId="{C6AF2823-2C75-4FCD-BFFB-3B515502E7A2}" dt="2021-12-31T02:28:17.749" v="2739" actId="255"/>
          <ac:spMkLst>
            <pc:docMk/>
            <pc:sldMk cId="812179340" sldId="8657"/>
            <ac:spMk id="9" creationId="{DAF569B1-0BD4-46D7-80B9-B16537F1ED79}"/>
          </ac:spMkLst>
        </pc:spChg>
        <pc:picChg chg="add mod">
          <ac:chgData name="Tan, John" userId="e70e5845-51ac-4a37-9e2a-8249abf76bce" providerId="ADAL" clId="{C6AF2823-2C75-4FCD-BFFB-3B515502E7A2}" dt="2021-12-30T13:19:48.261" v="1422" actId="26606"/>
          <ac:picMkLst>
            <pc:docMk/>
            <pc:sldMk cId="812179340" sldId="8657"/>
            <ac:picMk id="4" creationId="{42C37B4E-D64F-4973-B0B9-6629C65E6F17}"/>
          </ac:picMkLst>
        </pc:picChg>
      </pc:sldChg>
      <pc:sldChg chg="modSp del mod">
        <pc:chgData name="Tan, John" userId="e70e5845-51ac-4a37-9e2a-8249abf76bce" providerId="ADAL" clId="{C6AF2823-2C75-4FCD-BFFB-3B515502E7A2}" dt="2022-01-03T01:34:17.384" v="4182" actId="47"/>
        <pc:sldMkLst>
          <pc:docMk/>
          <pc:sldMk cId="1218936717" sldId="8658"/>
        </pc:sldMkLst>
        <pc:spChg chg="mod">
          <ac:chgData name="Tan, John" userId="e70e5845-51ac-4a37-9e2a-8249abf76bce" providerId="ADAL" clId="{C6AF2823-2C75-4FCD-BFFB-3B515502E7A2}" dt="2022-01-01T06:47:28.267" v="3892" actId="6549"/>
          <ac:spMkLst>
            <pc:docMk/>
            <pc:sldMk cId="1218936717" sldId="8658"/>
            <ac:spMk id="3" creationId="{735D6746-41D2-43B7-B3FF-1A6175398D06}"/>
          </ac:spMkLst>
        </pc:spChg>
      </pc:sldChg>
      <pc:sldChg chg="addSp delSp modSp del mod">
        <pc:chgData name="Tan, John" userId="e70e5845-51ac-4a37-9e2a-8249abf76bce" providerId="ADAL" clId="{C6AF2823-2C75-4FCD-BFFB-3B515502E7A2}" dt="2022-01-01T06:47:12.506" v="3858" actId="2696"/>
        <pc:sldMkLst>
          <pc:docMk/>
          <pc:sldMk cId="2940496404" sldId="8658"/>
        </pc:sldMkLst>
        <pc:spChg chg="mod">
          <ac:chgData name="Tan, John" userId="e70e5845-51ac-4a37-9e2a-8249abf76bce" providerId="ADAL" clId="{C6AF2823-2C75-4FCD-BFFB-3B515502E7A2}" dt="2021-12-30T13:09:10.099" v="1395" actId="20577"/>
          <ac:spMkLst>
            <pc:docMk/>
            <pc:sldMk cId="2940496404" sldId="8658"/>
            <ac:spMk id="3" creationId="{735D6746-41D2-43B7-B3FF-1A6175398D06}"/>
          </ac:spMkLst>
        </pc:spChg>
        <pc:picChg chg="add del mod">
          <ac:chgData name="Tan, John" userId="e70e5845-51ac-4a37-9e2a-8249abf76bce" providerId="ADAL" clId="{C6AF2823-2C75-4FCD-BFFB-3B515502E7A2}" dt="2021-12-29T14:02:09.200" v="580" actId="478"/>
          <ac:picMkLst>
            <pc:docMk/>
            <pc:sldMk cId="2940496404" sldId="8658"/>
            <ac:picMk id="4" creationId="{5C6CBF91-A215-422A-956B-DA1E95F0EB59}"/>
          </ac:picMkLst>
        </pc:picChg>
      </pc:sldChg>
      <pc:sldChg chg="addSp modSp add del mod modClrScheme chgLayout">
        <pc:chgData name="Tan, John" userId="e70e5845-51ac-4a37-9e2a-8249abf76bce" providerId="ADAL" clId="{C6AF2823-2C75-4FCD-BFFB-3B515502E7A2}" dt="2022-01-03T01:00:08.752" v="3999" actId="47"/>
        <pc:sldMkLst>
          <pc:docMk/>
          <pc:sldMk cId="3183928477" sldId="8659"/>
        </pc:sldMkLst>
        <pc:spChg chg="mod ord">
          <ac:chgData name="Tan, John" userId="e70e5845-51ac-4a37-9e2a-8249abf76bce" providerId="ADAL" clId="{C6AF2823-2C75-4FCD-BFFB-3B515502E7A2}" dt="2021-12-29T13:58:54.550" v="462" actId="20577"/>
          <ac:spMkLst>
            <pc:docMk/>
            <pc:sldMk cId="3183928477" sldId="8659"/>
            <ac:spMk id="2" creationId="{30095DC5-5A33-4D43-B3EB-FE9169F1C432}"/>
          </ac:spMkLst>
        </pc:spChg>
        <pc:spChg chg="mod ord">
          <ac:chgData name="Tan, John" userId="e70e5845-51ac-4a37-9e2a-8249abf76bce" providerId="ADAL" clId="{C6AF2823-2C75-4FCD-BFFB-3B515502E7A2}" dt="2021-12-30T13:09:28.520" v="1419" actId="20577"/>
          <ac:spMkLst>
            <pc:docMk/>
            <pc:sldMk cId="3183928477" sldId="8659"/>
            <ac:spMk id="3" creationId="{735D6746-41D2-43B7-B3FF-1A6175398D06}"/>
          </ac:spMkLst>
        </pc:spChg>
        <pc:picChg chg="add mod">
          <ac:chgData name="Tan, John" userId="e70e5845-51ac-4a37-9e2a-8249abf76bce" providerId="ADAL" clId="{C6AF2823-2C75-4FCD-BFFB-3B515502E7A2}" dt="2021-12-29T13:57:25.908" v="345" actId="14100"/>
          <ac:picMkLst>
            <pc:docMk/>
            <pc:sldMk cId="3183928477" sldId="8659"/>
            <ac:picMk id="4" creationId="{E45B147B-A9F2-456A-ACD6-EC4F543B9A65}"/>
          </ac:picMkLst>
        </pc:picChg>
      </pc:sldChg>
      <pc:sldChg chg="addSp delSp modSp del mod">
        <pc:chgData name="Tan, John" userId="e70e5845-51ac-4a37-9e2a-8249abf76bce" providerId="ADAL" clId="{C6AF2823-2C75-4FCD-BFFB-3B515502E7A2}" dt="2022-01-03T01:00:11.536" v="4000" actId="47"/>
        <pc:sldMkLst>
          <pc:docMk/>
          <pc:sldMk cId="1156302894" sldId="8660"/>
        </pc:sldMkLst>
        <pc:spChg chg="mod">
          <ac:chgData name="Tan, John" userId="e70e5845-51ac-4a37-9e2a-8249abf76bce" providerId="ADAL" clId="{C6AF2823-2C75-4FCD-BFFB-3B515502E7A2}" dt="2021-12-29T14:01:51.592" v="579" actId="14100"/>
          <ac:spMkLst>
            <pc:docMk/>
            <pc:sldMk cId="1156302894" sldId="8660"/>
            <ac:spMk id="2" creationId="{30095DC5-5A33-4D43-B3EB-FE9169F1C432}"/>
          </ac:spMkLst>
        </pc:spChg>
        <pc:spChg chg="mod">
          <ac:chgData name="Tan, John" userId="e70e5845-51ac-4a37-9e2a-8249abf76bce" providerId="ADAL" clId="{C6AF2823-2C75-4FCD-BFFB-3B515502E7A2}" dt="2021-12-30T13:09:19.773" v="1407" actId="20577"/>
          <ac:spMkLst>
            <pc:docMk/>
            <pc:sldMk cId="1156302894" sldId="8660"/>
            <ac:spMk id="3" creationId="{735D6746-41D2-43B7-B3FF-1A6175398D06}"/>
          </ac:spMkLst>
        </pc:spChg>
        <pc:picChg chg="del">
          <ac:chgData name="Tan, John" userId="e70e5845-51ac-4a37-9e2a-8249abf76bce" providerId="ADAL" clId="{C6AF2823-2C75-4FCD-BFFB-3B515502E7A2}" dt="2021-12-29T13:59:32.330" v="463" actId="478"/>
          <ac:picMkLst>
            <pc:docMk/>
            <pc:sldMk cId="1156302894" sldId="8660"/>
            <ac:picMk id="4" creationId="{E45B147B-A9F2-456A-ACD6-EC4F543B9A65}"/>
          </ac:picMkLst>
        </pc:picChg>
        <pc:picChg chg="add mod">
          <ac:chgData name="Tan, John" userId="e70e5845-51ac-4a37-9e2a-8249abf76bce" providerId="ADAL" clId="{C6AF2823-2C75-4FCD-BFFB-3B515502E7A2}" dt="2021-12-29T14:00:07.445" v="471" actId="14100"/>
          <ac:picMkLst>
            <pc:docMk/>
            <pc:sldMk cId="1156302894" sldId="8660"/>
            <ac:picMk id="5" creationId="{D1BFADD8-91A9-4189-93DC-93EBC4DCA633}"/>
          </ac:picMkLst>
        </pc:picChg>
      </pc:sldChg>
      <pc:sldChg chg="addSp modSp del mod modClrScheme chgLayout">
        <pc:chgData name="Tan, John" userId="e70e5845-51ac-4a37-9e2a-8249abf76bce" providerId="ADAL" clId="{C6AF2823-2C75-4FCD-BFFB-3B515502E7A2}" dt="2022-01-01T06:47:42.698" v="3893" actId="2696"/>
        <pc:sldMkLst>
          <pc:docMk/>
          <pc:sldMk cId="664486031" sldId="8661"/>
        </pc:sldMkLst>
        <pc:spChg chg="mod">
          <ac:chgData name="Tan, John" userId="e70e5845-51ac-4a37-9e2a-8249abf76bce" providerId="ADAL" clId="{C6AF2823-2C75-4FCD-BFFB-3B515502E7A2}" dt="2021-12-29T14:09:18.403" v="744" actId="14100"/>
          <ac:spMkLst>
            <pc:docMk/>
            <pc:sldMk cId="664486031" sldId="8661"/>
            <ac:spMk id="2" creationId="{30095DC5-5A33-4D43-B3EB-FE9169F1C432}"/>
          </ac:spMkLst>
        </pc:spChg>
        <pc:spChg chg="mod ord">
          <ac:chgData name="Tan, John" userId="e70e5845-51ac-4a37-9e2a-8249abf76bce" providerId="ADAL" clId="{C6AF2823-2C75-4FCD-BFFB-3B515502E7A2}" dt="2021-12-29T14:03:55.704" v="620" actId="26606"/>
          <ac:spMkLst>
            <pc:docMk/>
            <pc:sldMk cId="664486031" sldId="8661"/>
            <ac:spMk id="3" creationId="{735D6746-41D2-43B7-B3FF-1A6175398D06}"/>
          </ac:spMkLst>
        </pc:spChg>
        <pc:spChg chg="add mod">
          <ac:chgData name="Tan, John" userId="e70e5845-51ac-4a37-9e2a-8249abf76bce" providerId="ADAL" clId="{C6AF2823-2C75-4FCD-BFFB-3B515502E7A2}" dt="2021-12-29T14:03:55.704" v="620" actId="26606"/>
          <ac:spMkLst>
            <pc:docMk/>
            <pc:sldMk cId="664486031" sldId="8661"/>
            <ac:spMk id="8" creationId="{2726FE7C-C9B1-428D-8DF1-C95E56FB0270}"/>
          </ac:spMkLst>
        </pc:spChg>
      </pc:sldChg>
      <pc:sldChg chg="modSp mod">
        <pc:chgData name="Tan, John" userId="e70e5845-51ac-4a37-9e2a-8249abf76bce" providerId="ADAL" clId="{C6AF2823-2C75-4FCD-BFFB-3B515502E7A2}" dt="2022-01-03T00:59:11.665" v="3996" actId="6549"/>
        <pc:sldMkLst>
          <pc:docMk/>
          <pc:sldMk cId="2768492157" sldId="8661"/>
        </pc:sldMkLst>
        <pc:spChg chg="mod">
          <ac:chgData name="Tan, John" userId="e70e5845-51ac-4a37-9e2a-8249abf76bce" providerId="ADAL" clId="{C6AF2823-2C75-4FCD-BFFB-3B515502E7A2}" dt="2022-01-03T00:59:11.665" v="3996" actId="6549"/>
          <ac:spMkLst>
            <pc:docMk/>
            <pc:sldMk cId="2768492157" sldId="8661"/>
            <ac:spMk id="2" creationId="{30095DC5-5A33-4D43-B3EB-FE9169F1C432}"/>
          </ac:spMkLst>
        </pc:spChg>
        <pc:spChg chg="mod">
          <ac:chgData name="Tan, John" userId="e70e5845-51ac-4a37-9e2a-8249abf76bce" providerId="ADAL" clId="{C6AF2823-2C75-4FCD-BFFB-3B515502E7A2}" dt="2022-01-01T06:47:53.653" v="3899" actId="6549"/>
          <ac:spMkLst>
            <pc:docMk/>
            <pc:sldMk cId="2768492157" sldId="8661"/>
            <ac:spMk id="3" creationId="{735D6746-41D2-43B7-B3FF-1A6175398D06}"/>
          </ac:spMkLst>
        </pc:spChg>
      </pc:sldChg>
      <pc:sldChg chg="addSp delSp modSp mod">
        <pc:chgData name="Tan, John" userId="e70e5845-51ac-4a37-9e2a-8249abf76bce" providerId="ADAL" clId="{C6AF2823-2C75-4FCD-BFFB-3B515502E7A2}" dt="2022-01-03T02:54:24.673" v="4920" actId="6549"/>
        <pc:sldMkLst>
          <pc:docMk/>
          <pc:sldMk cId="133712276" sldId="8662"/>
        </pc:sldMkLst>
        <pc:spChg chg="mod">
          <ac:chgData name="Tan, John" userId="e70e5845-51ac-4a37-9e2a-8249abf76bce" providerId="ADAL" clId="{C6AF2823-2C75-4FCD-BFFB-3B515502E7A2}" dt="2022-01-03T02:54:24.673" v="4920" actId="6549"/>
          <ac:spMkLst>
            <pc:docMk/>
            <pc:sldMk cId="133712276" sldId="8662"/>
            <ac:spMk id="2" creationId="{30095DC5-5A33-4D43-B3EB-FE9169F1C432}"/>
          </ac:spMkLst>
        </pc:spChg>
        <pc:spChg chg="mod">
          <ac:chgData name="Tan, John" userId="e70e5845-51ac-4a37-9e2a-8249abf76bce" providerId="ADAL" clId="{C6AF2823-2C75-4FCD-BFFB-3B515502E7A2}" dt="2021-12-29T14:22:07.536" v="1236" actId="20577"/>
          <ac:spMkLst>
            <pc:docMk/>
            <pc:sldMk cId="133712276" sldId="8662"/>
            <ac:spMk id="3" creationId="{735D6746-41D2-43B7-B3FF-1A6175398D06}"/>
          </ac:spMkLst>
        </pc:spChg>
        <pc:spChg chg="del mod">
          <ac:chgData name="Tan, John" userId="e70e5845-51ac-4a37-9e2a-8249abf76bce" providerId="ADAL" clId="{C6AF2823-2C75-4FCD-BFFB-3B515502E7A2}" dt="2021-12-29T14:38:36.446" v="1239" actId="478"/>
          <ac:spMkLst>
            <pc:docMk/>
            <pc:sldMk cId="133712276" sldId="8662"/>
            <ac:spMk id="8" creationId="{2726FE7C-C9B1-428D-8DF1-C95E56FB0270}"/>
          </ac:spMkLst>
        </pc:spChg>
        <pc:spChg chg="add mod">
          <ac:chgData name="Tan, John" userId="e70e5845-51ac-4a37-9e2a-8249abf76bce" providerId="ADAL" clId="{C6AF2823-2C75-4FCD-BFFB-3B515502E7A2}" dt="2021-12-29T14:44:47.150" v="1368" actId="1076"/>
          <ac:spMkLst>
            <pc:docMk/>
            <pc:sldMk cId="133712276" sldId="8662"/>
            <ac:spMk id="11" creationId="{D9B371C9-604F-45E5-ACF4-B7E22B9D5A7B}"/>
          </ac:spMkLst>
        </pc:spChg>
        <pc:spChg chg="add mod">
          <ac:chgData name="Tan, John" userId="e70e5845-51ac-4a37-9e2a-8249abf76bce" providerId="ADAL" clId="{C6AF2823-2C75-4FCD-BFFB-3B515502E7A2}" dt="2021-12-29T14:44:59.245" v="1372" actId="1076"/>
          <ac:spMkLst>
            <pc:docMk/>
            <pc:sldMk cId="133712276" sldId="8662"/>
            <ac:spMk id="12" creationId="{0189E8C4-53E3-4FC8-85BC-AB45FD384615}"/>
          </ac:spMkLst>
        </pc:spChg>
        <pc:spChg chg="add mod">
          <ac:chgData name="Tan, John" userId="e70e5845-51ac-4a37-9e2a-8249abf76bce" providerId="ADAL" clId="{C6AF2823-2C75-4FCD-BFFB-3B515502E7A2}" dt="2021-12-29T14:45:02.037" v="1373" actId="1076"/>
          <ac:spMkLst>
            <pc:docMk/>
            <pc:sldMk cId="133712276" sldId="8662"/>
            <ac:spMk id="13" creationId="{D5F44C79-AF43-4F01-A089-78D559382728}"/>
          </ac:spMkLst>
        </pc:spChg>
        <pc:picChg chg="add mod">
          <ac:chgData name="Tan, John" userId="e70e5845-51ac-4a37-9e2a-8249abf76bce" providerId="ADAL" clId="{C6AF2823-2C75-4FCD-BFFB-3B515502E7A2}" dt="2021-12-29T14:44:50.794" v="1369" actId="1076"/>
          <ac:picMkLst>
            <pc:docMk/>
            <pc:sldMk cId="133712276" sldId="8662"/>
            <ac:picMk id="5" creationId="{9A61F869-2301-4A0E-A3B7-F40F927D0A5F}"/>
          </ac:picMkLst>
        </pc:picChg>
        <pc:picChg chg="add mod">
          <ac:chgData name="Tan, John" userId="e70e5845-51ac-4a37-9e2a-8249abf76bce" providerId="ADAL" clId="{C6AF2823-2C75-4FCD-BFFB-3B515502E7A2}" dt="2021-12-29T14:44:52.671" v="1370" actId="1076"/>
          <ac:picMkLst>
            <pc:docMk/>
            <pc:sldMk cId="133712276" sldId="8662"/>
            <ac:picMk id="7" creationId="{F104EE97-FA4F-41AC-BE72-00E68278FBF8}"/>
          </ac:picMkLst>
        </pc:picChg>
        <pc:picChg chg="add mod">
          <ac:chgData name="Tan, John" userId="e70e5845-51ac-4a37-9e2a-8249abf76bce" providerId="ADAL" clId="{C6AF2823-2C75-4FCD-BFFB-3B515502E7A2}" dt="2021-12-29T14:44:56.247" v="1371" actId="1076"/>
          <ac:picMkLst>
            <pc:docMk/>
            <pc:sldMk cId="133712276" sldId="8662"/>
            <ac:picMk id="10" creationId="{2E95BD48-19F4-4228-86B9-A4F10B5D401C}"/>
          </ac:picMkLst>
        </pc:picChg>
      </pc:sldChg>
      <pc:sldChg chg="del">
        <pc:chgData name="Tan, John" userId="e70e5845-51ac-4a37-9e2a-8249abf76bce" providerId="ADAL" clId="{C6AF2823-2C75-4FCD-BFFB-3B515502E7A2}" dt="2021-12-29T14:13:26.353" v="745"/>
        <pc:sldMkLst>
          <pc:docMk/>
          <pc:sldMk cId="1979443920" sldId="8662"/>
        </pc:sldMkLst>
      </pc:sldChg>
      <pc:sldChg chg="del">
        <pc:chgData name="Tan, John" userId="e70e5845-51ac-4a37-9e2a-8249abf76bce" providerId="ADAL" clId="{C6AF2823-2C75-4FCD-BFFB-3B515502E7A2}" dt="2021-12-29T14:13:32.485" v="746"/>
        <pc:sldMkLst>
          <pc:docMk/>
          <pc:sldMk cId="3573155903" sldId="8662"/>
        </pc:sldMkLst>
      </pc:sldChg>
      <pc:sldChg chg="addSp delSp modSp new mod modClrScheme chgLayout">
        <pc:chgData name="Tan, John" userId="e70e5845-51ac-4a37-9e2a-8249abf76bce" providerId="ADAL" clId="{C6AF2823-2C75-4FCD-BFFB-3B515502E7A2}" dt="2021-12-31T02:27:53.180" v="2725" actId="1076"/>
        <pc:sldMkLst>
          <pc:docMk/>
          <pc:sldMk cId="3847249655" sldId="8663"/>
        </pc:sldMkLst>
        <pc:spChg chg="del">
          <ac:chgData name="Tan, John" userId="e70e5845-51ac-4a37-9e2a-8249abf76bce" providerId="ADAL" clId="{C6AF2823-2C75-4FCD-BFFB-3B515502E7A2}" dt="2021-12-30T13:49:22.468" v="1461" actId="22"/>
          <ac:spMkLst>
            <pc:docMk/>
            <pc:sldMk cId="3847249655" sldId="8663"/>
            <ac:spMk id="2" creationId="{44BA1C49-4376-4D97-B959-774F662ED3C7}"/>
          </ac:spMkLst>
        </pc:spChg>
        <pc:spChg chg="mod">
          <ac:chgData name="Tan, John" userId="e70e5845-51ac-4a37-9e2a-8249abf76bce" providerId="ADAL" clId="{C6AF2823-2C75-4FCD-BFFB-3B515502E7A2}" dt="2021-12-31T02:27:53.180" v="2725" actId="1076"/>
          <ac:spMkLst>
            <pc:docMk/>
            <pc:sldMk cId="3847249655" sldId="8663"/>
            <ac:spMk id="3" creationId="{17C29B9A-E170-444F-A58A-C23944520F81}"/>
          </ac:spMkLst>
        </pc:spChg>
        <pc:spChg chg="add mod ord">
          <ac:chgData name="Tan, John" userId="e70e5845-51ac-4a37-9e2a-8249abf76bce" providerId="ADAL" clId="{C6AF2823-2C75-4FCD-BFFB-3B515502E7A2}" dt="2021-12-30T13:57:50.313" v="1730" actId="1076"/>
          <ac:spMkLst>
            <pc:docMk/>
            <pc:sldMk cId="3847249655" sldId="8663"/>
            <ac:spMk id="6" creationId="{050D284D-D492-4FB5-9AA2-FF181267B730}"/>
          </ac:spMkLst>
        </pc:spChg>
        <pc:spChg chg="add mod">
          <ac:chgData name="Tan, John" userId="e70e5845-51ac-4a37-9e2a-8249abf76bce" providerId="ADAL" clId="{C6AF2823-2C75-4FCD-BFFB-3B515502E7A2}" dt="2021-12-30T14:04:01.868" v="1969" actId="20577"/>
          <ac:spMkLst>
            <pc:docMk/>
            <pc:sldMk cId="3847249655" sldId="8663"/>
            <ac:spMk id="10" creationId="{5215BC04-A9C5-4648-96C7-7222F9107118}"/>
          </ac:spMkLst>
        </pc:spChg>
        <pc:picChg chg="add mod ord modCrop">
          <ac:chgData name="Tan, John" userId="e70e5845-51ac-4a37-9e2a-8249abf76bce" providerId="ADAL" clId="{C6AF2823-2C75-4FCD-BFFB-3B515502E7A2}" dt="2021-12-30T13:57:44.234" v="1729" actId="1076"/>
          <ac:picMkLst>
            <pc:docMk/>
            <pc:sldMk cId="3847249655" sldId="8663"/>
            <ac:picMk id="5" creationId="{E725977E-78E4-44C2-AD6C-3864AC4D9BBC}"/>
          </ac:picMkLst>
        </pc:picChg>
        <pc:picChg chg="add mod">
          <ac:chgData name="Tan, John" userId="e70e5845-51ac-4a37-9e2a-8249abf76bce" providerId="ADAL" clId="{C6AF2823-2C75-4FCD-BFFB-3B515502E7A2}" dt="2021-12-30T13:58:03.312" v="1735" actId="14100"/>
          <ac:picMkLst>
            <pc:docMk/>
            <pc:sldMk cId="3847249655" sldId="8663"/>
            <ac:picMk id="8" creationId="{DB8BFD19-B7E1-4F56-A5E5-922730CB9B0F}"/>
          </ac:picMkLst>
        </pc:picChg>
      </pc:sldChg>
      <pc:sldChg chg="addSp delSp modSp new mod">
        <pc:chgData name="Tan, John" userId="e70e5845-51ac-4a37-9e2a-8249abf76bce" providerId="ADAL" clId="{C6AF2823-2C75-4FCD-BFFB-3B515502E7A2}" dt="2021-12-31T02:28:53.956" v="2741" actId="255"/>
        <pc:sldMkLst>
          <pc:docMk/>
          <pc:sldMk cId="267946951" sldId="8664"/>
        </pc:sldMkLst>
        <pc:spChg chg="del">
          <ac:chgData name="Tan, John" userId="e70e5845-51ac-4a37-9e2a-8249abf76bce" providerId="ADAL" clId="{C6AF2823-2C75-4FCD-BFFB-3B515502E7A2}" dt="2021-12-30T14:16:02.504" v="1971" actId="22"/>
          <ac:spMkLst>
            <pc:docMk/>
            <pc:sldMk cId="267946951" sldId="8664"/>
            <ac:spMk id="2" creationId="{EDEFECC7-108F-431F-904E-5DE4B2F7308C}"/>
          </ac:spMkLst>
        </pc:spChg>
        <pc:spChg chg="mod">
          <ac:chgData name="Tan, John" userId="e70e5845-51ac-4a37-9e2a-8249abf76bce" providerId="ADAL" clId="{C6AF2823-2C75-4FCD-BFFB-3B515502E7A2}" dt="2021-12-30T14:20:09.105" v="2087" actId="14100"/>
          <ac:spMkLst>
            <pc:docMk/>
            <pc:sldMk cId="267946951" sldId="8664"/>
            <ac:spMk id="3" creationId="{08FE2D34-F360-4CDA-94F6-9E02CA52F883}"/>
          </ac:spMkLst>
        </pc:spChg>
        <pc:spChg chg="mod">
          <ac:chgData name="Tan, John" userId="e70e5845-51ac-4a37-9e2a-8249abf76bce" providerId="ADAL" clId="{C6AF2823-2C75-4FCD-BFFB-3B515502E7A2}" dt="2021-12-31T02:28:53.956" v="2741" actId="255"/>
          <ac:spMkLst>
            <pc:docMk/>
            <pc:sldMk cId="267946951" sldId="8664"/>
            <ac:spMk id="4" creationId="{EBAC6FFC-745F-4076-B87A-5570CB9E3EA1}"/>
          </ac:spMkLst>
        </pc:spChg>
        <pc:picChg chg="add mod ord modCrop">
          <ac:chgData name="Tan, John" userId="e70e5845-51ac-4a37-9e2a-8249abf76bce" providerId="ADAL" clId="{C6AF2823-2C75-4FCD-BFFB-3B515502E7A2}" dt="2021-12-30T14:16:16.025" v="1974" actId="14100"/>
          <ac:picMkLst>
            <pc:docMk/>
            <pc:sldMk cId="267946951" sldId="8664"/>
            <ac:picMk id="6" creationId="{EF844BEF-612B-46D0-8BEF-5227EA90AB15}"/>
          </ac:picMkLst>
        </pc:picChg>
      </pc:sldChg>
      <pc:sldChg chg="addSp delSp modSp mod">
        <pc:chgData name="Tan, John" userId="e70e5845-51ac-4a37-9e2a-8249abf76bce" providerId="ADAL" clId="{C6AF2823-2C75-4FCD-BFFB-3B515502E7A2}" dt="2021-12-31T02:28:35.871" v="2740" actId="255"/>
        <pc:sldMkLst>
          <pc:docMk/>
          <pc:sldMk cId="4142527905" sldId="8665"/>
        </pc:sldMkLst>
        <pc:spChg chg="mod">
          <ac:chgData name="Tan, John" userId="e70e5845-51ac-4a37-9e2a-8249abf76bce" providerId="ADAL" clId="{C6AF2823-2C75-4FCD-BFFB-3B515502E7A2}" dt="2021-12-31T02:26:00.589" v="2694" actId="14100"/>
          <ac:spMkLst>
            <pc:docMk/>
            <pc:sldMk cId="4142527905" sldId="8665"/>
            <ac:spMk id="2" creationId="{30095DC5-5A33-4D43-B3EB-FE9169F1C432}"/>
          </ac:spMkLst>
        </pc:spChg>
        <pc:spChg chg="mod">
          <ac:chgData name="Tan, John" userId="e70e5845-51ac-4a37-9e2a-8249abf76bce" providerId="ADAL" clId="{C6AF2823-2C75-4FCD-BFFB-3B515502E7A2}" dt="2021-12-31T02:28:35.871" v="2740" actId="255"/>
          <ac:spMkLst>
            <pc:docMk/>
            <pc:sldMk cId="4142527905" sldId="8665"/>
            <ac:spMk id="3" creationId="{735D6746-41D2-43B7-B3FF-1A6175398D06}"/>
          </ac:spMkLst>
        </pc:spChg>
        <pc:spChg chg="del mod">
          <ac:chgData name="Tan, John" userId="e70e5845-51ac-4a37-9e2a-8249abf76bce" providerId="ADAL" clId="{C6AF2823-2C75-4FCD-BFFB-3B515502E7A2}" dt="2021-12-31T02:25:02.446" v="2685" actId="22"/>
          <ac:spMkLst>
            <pc:docMk/>
            <pc:sldMk cId="4142527905" sldId="8665"/>
            <ac:spMk id="8" creationId="{2726FE7C-C9B1-428D-8DF1-C95E56FB0270}"/>
          </ac:spMkLst>
        </pc:spChg>
        <pc:picChg chg="add mod ord modCrop">
          <ac:chgData name="Tan, John" userId="e70e5845-51ac-4a37-9e2a-8249abf76bce" providerId="ADAL" clId="{C6AF2823-2C75-4FCD-BFFB-3B515502E7A2}" dt="2021-12-31T02:26:30.091" v="2700" actId="14100"/>
          <ac:picMkLst>
            <pc:docMk/>
            <pc:sldMk cId="4142527905" sldId="8665"/>
            <ac:picMk id="5" creationId="{42EEBD3C-2210-47C6-97EE-F51D87029D34}"/>
          </ac:picMkLst>
        </pc:picChg>
        <pc:picChg chg="add mod ord">
          <ac:chgData name="Tan, John" userId="e70e5845-51ac-4a37-9e2a-8249abf76bce" providerId="ADAL" clId="{C6AF2823-2C75-4FCD-BFFB-3B515502E7A2}" dt="2021-12-31T02:26:17.985" v="2698" actId="167"/>
          <ac:picMkLst>
            <pc:docMk/>
            <pc:sldMk cId="4142527905" sldId="8665"/>
            <ac:picMk id="7" creationId="{C8E6A0F5-AC7B-450E-AF00-000A6A97CE8B}"/>
          </ac:picMkLst>
        </pc:picChg>
      </pc:sldChg>
      <pc:sldChg chg="addSp delSp modSp mod">
        <pc:chgData name="Tan, John" userId="e70e5845-51ac-4a37-9e2a-8249abf76bce" providerId="ADAL" clId="{C6AF2823-2C75-4FCD-BFFB-3B515502E7A2}" dt="2022-01-03T02:23:54.623" v="4918" actId="255"/>
        <pc:sldMkLst>
          <pc:docMk/>
          <pc:sldMk cId="2851745309" sldId="8666"/>
        </pc:sldMkLst>
        <pc:spChg chg="mod">
          <ac:chgData name="Tan, John" userId="e70e5845-51ac-4a37-9e2a-8249abf76bce" providerId="ADAL" clId="{C6AF2823-2C75-4FCD-BFFB-3B515502E7A2}" dt="2022-01-03T01:17:27.308" v="4072" actId="20577"/>
          <ac:spMkLst>
            <pc:docMk/>
            <pc:sldMk cId="2851745309" sldId="8666"/>
            <ac:spMk id="2" creationId="{30095DC5-5A33-4D43-B3EB-FE9169F1C432}"/>
          </ac:spMkLst>
        </pc:spChg>
        <pc:spChg chg="mod">
          <ac:chgData name="Tan, John" userId="e70e5845-51ac-4a37-9e2a-8249abf76bce" providerId="ADAL" clId="{C6AF2823-2C75-4FCD-BFFB-3B515502E7A2}" dt="2022-01-03T02:23:54.623" v="4918" actId="255"/>
          <ac:spMkLst>
            <pc:docMk/>
            <pc:sldMk cId="2851745309" sldId="8666"/>
            <ac:spMk id="3" creationId="{735D6746-41D2-43B7-B3FF-1A6175398D06}"/>
          </ac:spMkLst>
        </pc:spChg>
        <pc:spChg chg="del">
          <ac:chgData name="Tan, John" userId="e70e5845-51ac-4a37-9e2a-8249abf76bce" providerId="ADAL" clId="{C6AF2823-2C75-4FCD-BFFB-3B515502E7A2}" dt="2021-12-31T02:50:56.637" v="2779" actId="478"/>
          <ac:spMkLst>
            <pc:docMk/>
            <pc:sldMk cId="2851745309" sldId="8666"/>
            <ac:spMk id="8" creationId="{2726FE7C-C9B1-428D-8DF1-C95E56FB0270}"/>
          </ac:spMkLst>
        </pc:spChg>
        <pc:graphicFrameChg chg="add del mod modGraphic">
          <ac:chgData name="Tan, John" userId="e70e5845-51ac-4a37-9e2a-8249abf76bce" providerId="ADAL" clId="{C6AF2823-2C75-4FCD-BFFB-3B515502E7A2}" dt="2021-12-31T02:52:00.501" v="2784" actId="478"/>
          <ac:graphicFrameMkLst>
            <pc:docMk/>
            <pc:sldMk cId="2851745309" sldId="8666"/>
            <ac:graphicFrameMk id="4" creationId="{9076E946-37BD-485D-A236-C48F65C255FE}"/>
          </ac:graphicFrameMkLst>
        </pc:graphicFrameChg>
        <pc:graphicFrameChg chg="add mod modGraphic">
          <ac:chgData name="Tan, John" userId="e70e5845-51ac-4a37-9e2a-8249abf76bce" providerId="ADAL" clId="{C6AF2823-2C75-4FCD-BFFB-3B515502E7A2}" dt="2021-12-31T02:53:26.040" v="2881" actId="20577"/>
          <ac:graphicFrameMkLst>
            <pc:docMk/>
            <pc:sldMk cId="2851745309" sldId="8666"/>
            <ac:graphicFrameMk id="5" creationId="{5DFFB311-3C35-4239-AA26-31FA0494CB41}"/>
          </ac:graphicFrameMkLst>
        </pc:graphicFrameChg>
      </pc:sldChg>
      <pc:sldChg chg="addSp delSp modSp mod">
        <pc:chgData name="Tan, John" userId="e70e5845-51ac-4a37-9e2a-8249abf76bce" providerId="ADAL" clId="{C6AF2823-2C75-4FCD-BFFB-3B515502E7A2}" dt="2022-01-03T02:24:29.725" v="4919" actId="255"/>
        <pc:sldMkLst>
          <pc:docMk/>
          <pc:sldMk cId="2113959181" sldId="8667"/>
        </pc:sldMkLst>
        <pc:spChg chg="mod">
          <ac:chgData name="Tan, John" userId="e70e5845-51ac-4a37-9e2a-8249abf76bce" providerId="ADAL" clId="{C6AF2823-2C75-4FCD-BFFB-3B515502E7A2}" dt="2022-01-03T01:29:21.313" v="4130" actId="255"/>
          <ac:spMkLst>
            <pc:docMk/>
            <pc:sldMk cId="2113959181" sldId="8667"/>
            <ac:spMk id="2" creationId="{30095DC5-5A33-4D43-B3EB-FE9169F1C432}"/>
          </ac:spMkLst>
        </pc:spChg>
        <pc:spChg chg="mod">
          <ac:chgData name="Tan, John" userId="e70e5845-51ac-4a37-9e2a-8249abf76bce" providerId="ADAL" clId="{C6AF2823-2C75-4FCD-BFFB-3B515502E7A2}" dt="2022-01-03T02:24:29.725" v="4919" actId="255"/>
          <ac:spMkLst>
            <pc:docMk/>
            <pc:sldMk cId="2113959181" sldId="8667"/>
            <ac:spMk id="3" creationId="{735D6746-41D2-43B7-B3FF-1A6175398D06}"/>
          </ac:spMkLst>
        </pc:spChg>
        <pc:spChg chg="add mod">
          <ac:chgData name="Tan, John" userId="e70e5845-51ac-4a37-9e2a-8249abf76bce" providerId="ADAL" clId="{C6AF2823-2C75-4FCD-BFFB-3B515502E7A2}" dt="2022-01-01T06:02:44.301" v="3061" actId="1076"/>
          <ac:spMkLst>
            <pc:docMk/>
            <pc:sldMk cId="2113959181" sldId="8667"/>
            <ac:spMk id="4" creationId="{399FAE21-C7D9-437D-8FD3-54CFA101F441}"/>
          </ac:spMkLst>
        </pc:spChg>
        <pc:spChg chg="add mod">
          <ac:chgData name="Tan, John" userId="e70e5845-51ac-4a37-9e2a-8249abf76bce" providerId="ADAL" clId="{C6AF2823-2C75-4FCD-BFFB-3B515502E7A2}" dt="2022-01-01T06:03:33.851" v="3068" actId="20577"/>
          <ac:spMkLst>
            <pc:docMk/>
            <pc:sldMk cId="2113959181" sldId="8667"/>
            <ac:spMk id="6" creationId="{1A1A0B72-25E3-4A6A-BF43-8F42201E2B13}"/>
          </ac:spMkLst>
        </pc:spChg>
        <pc:spChg chg="add mod">
          <ac:chgData name="Tan, John" userId="e70e5845-51ac-4a37-9e2a-8249abf76bce" providerId="ADAL" clId="{C6AF2823-2C75-4FCD-BFFB-3B515502E7A2}" dt="2022-01-01T06:04:00.570" v="3074" actId="20577"/>
          <ac:spMkLst>
            <pc:docMk/>
            <pc:sldMk cId="2113959181" sldId="8667"/>
            <ac:spMk id="7" creationId="{0F5B583E-F9E5-484A-BA65-ECB14FA6AE59}"/>
          </ac:spMkLst>
        </pc:spChg>
        <pc:spChg chg="del">
          <ac:chgData name="Tan, John" userId="e70e5845-51ac-4a37-9e2a-8249abf76bce" providerId="ADAL" clId="{C6AF2823-2C75-4FCD-BFFB-3B515502E7A2}" dt="2021-12-31T14:34:30.006" v="2882" actId="22"/>
          <ac:spMkLst>
            <pc:docMk/>
            <pc:sldMk cId="2113959181" sldId="8667"/>
            <ac:spMk id="8" creationId="{2726FE7C-C9B1-428D-8DF1-C95E56FB0270}"/>
          </ac:spMkLst>
        </pc:spChg>
        <pc:picChg chg="add mod ord modCrop">
          <ac:chgData name="Tan, John" userId="e70e5845-51ac-4a37-9e2a-8249abf76bce" providerId="ADAL" clId="{C6AF2823-2C75-4FCD-BFFB-3B515502E7A2}" dt="2021-12-31T14:34:33.114" v="2883" actId="14100"/>
          <ac:picMkLst>
            <pc:docMk/>
            <pc:sldMk cId="2113959181" sldId="8667"/>
            <ac:picMk id="5" creationId="{318D88A3-AF04-469A-8620-20E89231AD18}"/>
          </ac:picMkLst>
        </pc:picChg>
      </pc:sldChg>
      <pc:sldChg chg="addSp delSp modSp mod ord">
        <pc:chgData name="Tan, John" userId="e70e5845-51ac-4a37-9e2a-8249abf76bce" providerId="ADAL" clId="{C6AF2823-2C75-4FCD-BFFB-3B515502E7A2}" dt="2022-01-03T01:53:42.223" v="4575"/>
        <pc:sldMkLst>
          <pc:docMk/>
          <pc:sldMk cId="2279156548" sldId="8668"/>
        </pc:sldMkLst>
        <pc:spChg chg="mod">
          <ac:chgData name="Tan, John" userId="e70e5845-51ac-4a37-9e2a-8249abf76bce" providerId="ADAL" clId="{C6AF2823-2C75-4FCD-BFFB-3B515502E7A2}" dt="2022-01-01T06:11:27.374" v="3246" actId="255"/>
          <ac:spMkLst>
            <pc:docMk/>
            <pc:sldMk cId="2279156548" sldId="8668"/>
            <ac:spMk id="2" creationId="{30095DC5-5A33-4D43-B3EB-FE9169F1C432}"/>
          </ac:spMkLst>
        </pc:spChg>
        <pc:spChg chg="mod">
          <ac:chgData name="Tan, John" userId="e70e5845-51ac-4a37-9e2a-8249abf76bce" providerId="ADAL" clId="{C6AF2823-2C75-4FCD-BFFB-3B515502E7A2}" dt="2022-01-01T06:10:04.329" v="3129" actId="20577"/>
          <ac:spMkLst>
            <pc:docMk/>
            <pc:sldMk cId="2279156548" sldId="8668"/>
            <ac:spMk id="3" creationId="{735D6746-41D2-43B7-B3FF-1A6175398D06}"/>
          </ac:spMkLst>
        </pc:spChg>
        <pc:spChg chg="del">
          <ac:chgData name="Tan, John" userId="e70e5845-51ac-4a37-9e2a-8249abf76bce" providerId="ADAL" clId="{C6AF2823-2C75-4FCD-BFFB-3B515502E7A2}" dt="2022-01-01T06:09:47.089" v="3075" actId="22"/>
          <ac:spMkLst>
            <pc:docMk/>
            <pc:sldMk cId="2279156548" sldId="8668"/>
            <ac:spMk id="8" creationId="{2726FE7C-C9B1-428D-8DF1-C95E56FB0270}"/>
          </ac:spMkLst>
        </pc:spChg>
        <pc:picChg chg="add mod ord modCrop">
          <ac:chgData name="Tan, John" userId="e70e5845-51ac-4a37-9e2a-8249abf76bce" providerId="ADAL" clId="{C6AF2823-2C75-4FCD-BFFB-3B515502E7A2}" dt="2022-01-01T06:10:16.001" v="3130" actId="14100"/>
          <ac:picMkLst>
            <pc:docMk/>
            <pc:sldMk cId="2279156548" sldId="8668"/>
            <ac:picMk id="5" creationId="{3F5022EC-8F10-4D9B-ACDE-8DE8B5CC4DB7}"/>
          </ac:picMkLst>
        </pc:picChg>
      </pc:sldChg>
      <pc:sldChg chg="addSp delSp modSp mod ord">
        <pc:chgData name="Tan, John" userId="e70e5845-51ac-4a37-9e2a-8249abf76bce" providerId="ADAL" clId="{C6AF2823-2C75-4FCD-BFFB-3B515502E7A2}" dt="2022-01-03T01:33:35.943" v="4178"/>
        <pc:sldMkLst>
          <pc:docMk/>
          <pc:sldMk cId="3060307904" sldId="8669"/>
        </pc:sldMkLst>
        <pc:spChg chg="mod">
          <ac:chgData name="Tan, John" userId="e70e5845-51ac-4a37-9e2a-8249abf76bce" providerId="ADAL" clId="{C6AF2823-2C75-4FCD-BFFB-3B515502E7A2}" dt="2022-01-01T06:45:52.765" v="3857" actId="20577"/>
          <ac:spMkLst>
            <pc:docMk/>
            <pc:sldMk cId="3060307904" sldId="8669"/>
            <ac:spMk id="2" creationId="{30095DC5-5A33-4D43-B3EB-FE9169F1C432}"/>
          </ac:spMkLst>
        </pc:spChg>
        <pc:spChg chg="mod">
          <ac:chgData name="Tan, John" userId="e70e5845-51ac-4a37-9e2a-8249abf76bce" providerId="ADAL" clId="{C6AF2823-2C75-4FCD-BFFB-3B515502E7A2}" dt="2022-01-01T06:38:23.054" v="3514" actId="20577"/>
          <ac:spMkLst>
            <pc:docMk/>
            <pc:sldMk cId="3060307904" sldId="8669"/>
            <ac:spMk id="3" creationId="{735D6746-41D2-43B7-B3FF-1A6175398D06}"/>
          </ac:spMkLst>
        </pc:spChg>
        <pc:spChg chg="del mod">
          <ac:chgData name="Tan, John" userId="e70e5845-51ac-4a37-9e2a-8249abf76bce" providerId="ADAL" clId="{C6AF2823-2C75-4FCD-BFFB-3B515502E7A2}" dt="2022-01-01T06:40:08.358" v="3516" actId="22"/>
          <ac:spMkLst>
            <pc:docMk/>
            <pc:sldMk cId="3060307904" sldId="8669"/>
            <ac:spMk id="8" creationId="{2726FE7C-C9B1-428D-8DF1-C95E56FB0270}"/>
          </ac:spMkLst>
        </pc:spChg>
        <pc:picChg chg="add mod ord modCrop">
          <ac:chgData name="Tan, John" userId="e70e5845-51ac-4a37-9e2a-8249abf76bce" providerId="ADAL" clId="{C6AF2823-2C75-4FCD-BFFB-3B515502E7A2}" dt="2022-01-01T06:40:08.358" v="3516" actId="22"/>
          <ac:picMkLst>
            <pc:docMk/>
            <pc:sldMk cId="3060307904" sldId="8669"/>
            <ac:picMk id="5" creationId="{17708659-2142-4334-8FA4-7304342C7E01}"/>
          </ac:picMkLst>
        </pc:picChg>
      </pc:sldChg>
      <pc:sldChg chg="del">
        <pc:chgData name="Tan, John" userId="e70e5845-51ac-4a37-9e2a-8249abf76bce" providerId="ADAL" clId="{C6AF2823-2C75-4FCD-BFFB-3B515502E7A2}" dt="2022-01-01T06:25:32.829" v="3474" actId="47"/>
        <pc:sldMkLst>
          <pc:docMk/>
          <pc:sldMk cId="1745938120" sldId="8670"/>
        </pc:sldMkLst>
      </pc:sldChg>
      <pc:sldChg chg="new del">
        <pc:chgData name="Tan, John" userId="e70e5845-51ac-4a37-9e2a-8249abf76bce" providerId="ADAL" clId="{C6AF2823-2C75-4FCD-BFFB-3B515502E7A2}" dt="2022-01-01T06:21:40.532" v="3250" actId="47"/>
        <pc:sldMkLst>
          <pc:docMk/>
          <pc:sldMk cId="1005817086" sldId="8671"/>
        </pc:sldMkLst>
      </pc:sldChg>
      <pc:sldChg chg="modSp add del mod">
        <pc:chgData name="Tan, John" userId="e70e5845-51ac-4a37-9e2a-8249abf76bce" providerId="ADAL" clId="{C6AF2823-2C75-4FCD-BFFB-3B515502E7A2}" dt="2022-01-01T06:25:25.580" v="3473" actId="47"/>
        <pc:sldMkLst>
          <pc:docMk/>
          <pc:sldMk cId="2680685875" sldId="8671"/>
        </pc:sldMkLst>
        <pc:spChg chg="mod">
          <ac:chgData name="Tan, John" userId="e70e5845-51ac-4a37-9e2a-8249abf76bce" providerId="ADAL" clId="{C6AF2823-2C75-4FCD-BFFB-3B515502E7A2}" dt="2022-01-01T06:22:44.311" v="3289" actId="20577"/>
          <ac:spMkLst>
            <pc:docMk/>
            <pc:sldMk cId="2680685875" sldId="8671"/>
            <ac:spMk id="2" creationId="{00000000-0000-0000-0000-000000000000}"/>
          </ac:spMkLst>
        </pc:spChg>
        <pc:spChg chg="mod">
          <ac:chgData name="Tan, John" userId="e70e5845-51ac-4a37-9e2a-8249abf76bce" providerId="ADAL" clId="{C6AF2823-2C75-4FCD-BFFB-3B515502E7A2}" dt="2022-01-01T06:23:22.734" v="3329" actId="20577"/>
          <ac:spMkLst>
            <pc:docMk/>
            <pc:sldMk cId="2680685875" sldId="8671"/>
            <ac:spMk id="3" creationId="{00000000-0000-0000-0000-000000000000}"/>
          </ac:spMkLst>
        </pc:spChg>
        <pc:spChg chg="mod">
          <ac:chgData name="Tan, John" userId="e70e5845-51ac-4a37-9e2a-8249abf76bce" providerId="ADAL" clId="{C6AF2823-2C75-4FCD-BFFB-3B515502E7A2}" dt="2022-01-01T06:24:12.243" v="3391" actId="20577"/>
          <ac:spMkLst>
            <pc:docMk/>
            <pc:sldMk cId="2680685875" sldId="8671"/>
            <ac:spMk id="4" creationId="{00000000-0000-0000-0000-000000000000}"/>
          </ac:spMkLst>
        </pc:spChg>
        <pc:spChg chg="mod">
          <ac:chgData name="Tan, John" userId="e70e5845-51ac-4a37-9e2a-8249abf76bce" providerId="ADAL" clId="{C6AF2823-2C75-4FCD-BFFB-3B515502E7A2}" dt="2022-01-01T06:24:38.070" v="3431" actId="20577"/>
          <ac:spMkLst>
            <pc:docMk/>
            <pc:sldMk cId="2680685875" sldId="8671"/>
            <ac:spMk id="5" creationId="{00000000-0000-0000-0000-000000000000}"/>
          </ac:spMkLst>
        </pc:spChg>
        <pc:spChg chg="mod">
          <ac:chgData name="Tan, John" userId="e70e5845-51ac-4a37-9e2a-8249abf76bce" providerId="ADAL" clId="{C6AF2823-2C75-4FCD-BFFB-3B515502E7A2}" dt="2022-01-01T06:24:56.551" v="3472" actId="20577"/>
          <ac:spMkLst>
            <pc:docMk/>
            <pc:sldMk cId="2680685875" sldId="8671"/>
            <ac:spMk id="6" creationId="{00000000-0000-0000-0000-000000000000}"/>
          </ac:spMkLst>
        </pc:spChg>
      </pc:sldChg>
      <pc:sldChg chg="delSp del mod">
        <pc:chgData name="Tan, John" userId="e70e5845-51ac-4a37-9e2a-8249abf76bce" providerId="ADAL" clId="{C6AF2823-2C75-4FCD-BFFB-3B515502E7A2}" dt="2022-01-01T06:21:31.574" v="3248" actId="47"/>
        <pc:sldMkLst>
          <pc:docMk/>
          <pc:sldMk cId="3229889055" sldId="8671"/>
        </pc:sldMkLst>
        <pc:picChg chg="del">
          <ac:chgData name="Tan, John" userId="e70e5845-51ac-4a37-9e2a-8249abf76bce" providerId="ADAL" clId="{C6AF2823-2C75-4FCD-BFFB-3B515502E7A2}" dt="2022-01-01T06:21:23.253" v="3247" actId="478"/>
          <ac:picMkLst>
            <pc:docMk/>
            <pc:sldMk cId="3229889055" sldId="8671"/>
            <ac:picMk id="11" creationId="{8DF7D0BF-8EA5-40CF-9FBD-227801D0AF87}"/>
          </ac:picMkLst>
        </pc:picChg>
      </pc:sldChg>
      <pc:sldChg chg="modSp mod">
        <pc:chgData name="Tan, John" userId="e70e5845-51ac-4a37-9e2a-8249abf76bce" providerId="ADAL" clId="{C6AF2823-2C75-4FCD-BFFB-3B515502E7A2}" dt="2022-01-03T01:29:41.959" v="4140" actId="20577"/>
        <pc:sldMkLst>
          <pc:docMk/>
          <pc:sldMk cId="553320005" sldId="8672"/>
        </pc:sldMkLst>
        <pc:spChg chg="mod">
          <ac:chgData name="Tan, John" userId="e70e5845-51ac-4a37-9e2a-8249abf76bce" providerId="ADAL" clId="{C6AF2823-2C75-4FCD-BFFB-3B515502E7A2}" dt="2022-01-03T01:29:41.959" v="4140" actId="20577"/>
          <ac:spMkLst>
            <pc:docMk/>
            <pc:sldMk cId="553320005" sldId="8672"/>
            <ac:spMk id="2" creationId="{00000000-0000-0000-0000-000000000000}"/>
          </ac:spMkLst>
        </pc:spChg>
      </pc:sldChg>
      <pc:sldChg chg="addSp delSp modSp new mod ord modClrScheme chgLayout">
        <pc:chgData name="Tan, John" userId="e70e5845-51ac-4a37-9e2a-8249abf76bce" providerId="ADAL" clId="{C6AF2823-2C75-4FCD-BFFB-3B515502E7A2}" dt="2022-01-03T00:58:41.780" v="3995"/>
        <pc:sldMkLst>
          <pc:docMk/>
          <pc:sldMk cId="3693281818" sldId="8673"/>
        </pc:sldMkLst>
        <pc:spChg chg="del">
          <ac:chgData name="Tan, John" userId="e70e5845-51ac-4a37-9e2a-8249abf76bce" providerId="ADAL" clId="{C6AF2823-2C75-4FCD-BFFB-3B515502E7A2}" dt="2022-01-01T07:20:25.647" v="3904" actId="26606"/>
          <ac:spMkLst>
            <pc:docMk/>
            <pc:sldMk cId="3693281818" sldId="8673"/>
            <ac:spMk id="2" creationId="{74A21033-4B69-4834-AEEE-322EE4757E27}"/>
          </ac:spMkLst>
        </pc:spChg>
        <pc:spChg chg="del">
          <ac:chgData name="Tan, John" userId="e70e5845-51ac-4a37-9e2a-8249abf76bce" providerId="ADAL" clId="{C6AF2823-2C75-4FCD-BFFB-3B515502E7A2}" dt="2022-01-01T07:19:50.903" v="3901"/>
          <ac:spMkLst>
            <pc:docMk/>
            <pc:sldMk cId="3693281818" sldId="8673"/>
            <ac:spMk id="3" creationId="{5B3A5EAF-C0CB-4D9D-AC9F-15DF0E757813}"/>
          </ac:spMkLst>
        </pc:spChg>
        <pc:spChg chg="del">
          <ac:chgData name="Tan, John" userId="e70e5845-51ac-4a37-9e2a-8249abf76bce" providerId="ADAL" clId="{C6AF2823-2C75-4FCD-BFFB-3B515502E7A2}" dt="2022-01-01T07:20:25.647" v="3904" actId="26606"/>
          <ac:spMkLst>
            <pc:docMk/>
            <pc:sldMk cId="3693281818" sldId="8673"/>
            <ac:spMk id="4" creationId="{AD127F82-FEF0-4794-B7F3-7AC6AA70608A}"/>
          </ac:spMkLst>
        </pc:spChg>
        <pc:spChg chg="add mod">
          <ac:chgData name="Tan, John" userId="e70e5845-51ac-4a37-9e2a-8249abf76bce" providerId="ADAL" clId="{C6AF2823-2C75-4FCD-BFFB-3B515502E7A2}" dt="2022-01-01T07:21:26.046" v="3954" actId="1076"/>
          <ac:spMkLst>
            <pc:docMk/>
            <pc:sldMk cId="3693281818" sldId="8673"/>
            <ac:spMk id="10" creationId="{B8A58869-F58C-49FC-8F53-358BAF0A5454}"/>
          </ac:spMkLst>
        </pc:spChg>
        <pc:spChg chg="add mod">
          <ac:chgData name="Tan, John" userId="e70e5845-51ac-4a37-9e2a-8249abf76bce" providerId="ADAL" clId="{C6AF2823-2C75-4FCD-BFFB-3B515502E7A2}" dt="2022-01-01T07:22:07.528" v="3967" actId="255"/>
          <ac:spMkLst>
            <pc:docMk/>
            <pc:sldMk cId="3693281818" sldId="8673"/>
            <ac:spMk id="12" creationId="{4A116529-37AD-4EB8-BC6A-AF13AB17A894}"/>
          </ac:spMkLst>
        </pc:spChg>
        <pc:graphicFrameChg chg="add mod modGraphic">
          <ac:chgData name="Tan, John" userId="e70e5845-51ac-4a37-9e2a-8249abf76bce" providerId="ADAL" clId="{C6AF2823-2C75-4FCD-BFFB-3B515502E7A2}" dt="2022-01-01T07:21:40.097" v="3956" actId="14100"/>
          <ac:graphicFrameMkLst>
            <pc:docMk/>
            <pc:sldMk cId="3693281818" sldId="8673"/>
            <ac:graphicFrameMk id="5" creationId="{37D39B0C-51AF-4952-BD3E-365D3251B65F}"/>
          </ac:graphicFrameMkLst>
        </pc:graphicFrameChg>
      </pc:sldChg>
      <pc:sldChg chg="addSp delSp modSp new mod modClrScheme chgLayout">
        <pc:chgData name="Tan, John" userId="e70e5845-51ac-4a37-9e2a-8249abf76bce" providerId="ADAL" clId="{C6AF2823-2C75-4FCD-BFFB-3B515502E7A2}" dt="2022-01-03T01:42:40.221" v="4314" actId="1076"/>
        <pc:sldMkLst>
          <pc:docMk/>
          <pc:sldMk cId="177769294" sldId="8676"/>
        </pc:sldMkLst>
        <pc:spChg chg="add del">
          <ac:chgData name="Tan, John" userId="e70e5845-51ac-4a37-9e2a-8249abf76bce" providerId="ADAL" clId="{C6AF2823-2C75-4FCD-BFFB-3B515502E7A2}" dt="2022-01-03T01:07:34.866" v="4006" actId="26606"/>
          <ac:spMkLst>
            <pc:docMk/>
            <pc:sldMk cId="177769294" sldId="8676"/>
            <ac:spMk id="2" creationId="{749F9BF4-8DAF-40DE-B343-2D8E5D390D3D}"/>
          </ac:spMkLst>
        </pc:spChg>
        <pc:spChg chg="add del mod">
          <ac:chgData name="Tan, John" userId="e70e5845-51ac-4a37-9e2a-8249abf76bce" providerId="ADAL" clId="{C6AF2823-2C75-4FCD-BFFB-3B515502E7A2}" dt="2022-01-03T01:10:15.874" v="4050" actId="21"/>
          <ac:spMkLst>
            <pc:docMk/>
            <pc:sldMk cId="177769294" sldId="8676"/>
            <ac:spMk id="6" creationId="{3A9BD76D-00EF-4A90-85AA-DAEB17D39810}"/>
          </ac:spMkLst>
        </pc:spChg>
        <pc:spChg chg="add del mod">
          <ac:chgData name="Tan, John" userId="e70e5845-51ac-4a37-9e2a-8249abf76bce" providerId="ADAL" clId="{C6AF2823-2C75-4FCD-BFFB-3B515502E7A2}" dt="2022-01-03T01:10:03.495" v="4049" actId="21"/>
          <ac:spMkLst>
            <pc:docMk/>
            <pc:sldMk cId="177769294" sldId="8676"/>
            <ac:spMk id="9" creationId="{8E70820B-E9DE-4CD9-B627-7617C624B20F}"/>
          </ac:spMkLst>
        </pc:spChg>
        <pc:spChg chg="add mod">
          <ac:chgData name="Tan, John" userId="e70e5845-51ac-4a37-9e2a-8249abf76bce" providerId="ADAL" clId="{C6AF2823-2C75-4FCD-BFFB-3B515502E7A2}" dt="2022-01-03T01:42:40.221" v="4314" actId="1076"/>
          <ac:spMkLst>
            <pc:docMk/>
            <pc:sldMk cId="177769294" sldId="8676"/>
            <ac:spMk id="11" creationId="{EDA85CD1-D14F-499D-9650-5046D38C56E6}"/>
          </ac:spMkLst>
        </pc:spChg>
        <pc:spChg chg="add mod">
          <ac:chgData name="Tan, John" userId="e70e5845-51ac-4a37-9e2a-8249abf76bce" providerId="ADAL" clId="{C6AF2823-2C75-4FCD-BFFB-3B515502E7A2}" dt="2022-01-03T01:10:36.638" v="4051" actId="26606"/>
          <ac:spMkLst>
            <pc:docMk/>
            <pc:sldMk cId="177769294" sldId="8676"/>
            <ac:spMk id="16" creationId="{195E1E5B-60DE-43B2-A189-5E97711D2141}"/>
          </ac:spMkLst>
        </pc:spChg>
        <pc:picChg chg="add mod ord">
          <ac:chgData name="Tan, John" userId="e70e5845-51ac-4a37-9e2a-8249abf76bce" providerId="ADAL" clId="{C6AF2823-2C75-4FCD-BFFB-3B515502E7A2}" dt="2022-01-03T01:42:35.333" v="4313" actId="14100"/>
          <ac:picMkLst>
            <pc:docMk/>
            <pc:sldMk cId="177769294" sldId="8676"/>
            <ac:picMk id="4" creationId="{76E26AF2-2423-4192-8A39-BB721E200C32}"/>
          </ac:picMkLst>
        </pc:picChg>
      </pc:sldChg>
      <pc:sldChg chg="add ord">
        <pc:chgData name="Tan, John" userId="e70e5845-51ac-4a37-9e2a-8249abf76bce" providerId="ADAL" clId="{C6AF2823-2C75-4FCD-BFFB-3B515502E7A2}" dt="2022-01-03T01:33:37.583" v="4180"/>
        <pc:sldMkLst>
          <pc:docMk/>
          <pc:sldMk cId="3994704429" sldId="8677"/>
        </pc:sldMkLst>
      </pc:sldChg>
      <pc:sldChg chg="addSp modSp new mod">
        <pc:chgData name="Tan, John" userId="e70e5845-51ac-4a37-9e2a-8249abf76bce" providerId="ADAL" clId="{C6AF2823-2C75-4FCD-BFFB-3B515502E7A2}" dt="2022-01-03T01:41:14.889" v="4307" actId="20577"/>
        <pc:sldMkLst>
          <pc:docMk/>
          <pc:sldMk cId="3594194017" sldId="8678"/>
        </pc:sldMkLst>
        <pc:spChg chg="mod">
          <ac:chgData name="Tan, John" userId="e70e5845-51ac-4a37-9e2a-8249abf76bce" providerId="ADAL" clId="{C6AF2823-2C75-4FCD-BFFB-3B515502E7A2}" dt="2022-01-03T01:40:10.237" v="4279" actId="1076"/>
          <ac:spMkLst>
            <pc:docMk/>
            <pc:sldMk cId="3594194017" sldId="8678"/>
            <ac:spMk id="2" creationId="{E69C083B-9D85-4036-BDDA-4B8280A60C3E}"/>
          </ac:spMkLst>
        </pc:spChg>
        <pc:graphicFrameChg chg="add mod modGraphic">
          <ac:chgData name="Tan, John" userId="e70e5845-51ac-4a37-9e2a-8249abf76bce" providerId="ADAL" clId="{C6AF2823-2C75-4FCD-BFFB-3B515502E7A2}" dt="2022-01-03T01:41:14.889" v="4307" actId="20577"/>
          <ac:graphicFrameMkLst>
            <pc:docMk/>
            <pc:sldMk cId="3594194017" sldId="8678"/>
            <ac:graphicFrameMk id="3" creationId="{560D9162-6F50-42FF-9A51-B2A8E82FAFDD}"/>
          </ac:graphicFrameMkLst>
        </pc:graphicFrameChg>
      </pc:sldChg>
      <pc:sldChg chg="new del">
        <pc:chgData name="Tan, John" userId="e70e5845-51ac-4a37-9e2a-8249abf76bce" providerId="ADAL" clId="{C6AF2823-2C75-4FCD-BFFB-3B515502E7A2}" dt="2022-01-03T01:30:12.441" v="4142" actId="47"/>
        <pc:sldMkLst>
          <pc:docMk/>
          <pc:sldMk cId="625904072" sldId="8679"/>
        </pc:sldMkLst>
      </pc:sldChg>
      <pc:sldChg chg="new">
        <pc:chgData name="Tan, John" userId="e70e5845-51ac-4a37-9e2a-8249abf76bce" providerId="ADAL" clId="{C6AF2823-2C75-4FCD-BFFB-3B515502E7A2}" dt="2022-01-03T01:30:18.069" v="4143" actId="680"/>
        <pc:sldMkLst>
          <pc:docMk/>
          <pc:sldMk cId="1842892233" sldId="8679"/>
        </pc:sldMkLst>
      </pc:sldChg>
      <pc:sldChg chg="addSp delSp modSp new del mod modClrScheme chgLayout">
        <pc:chgData name="Tan, John" userId="e70e5845-51ac-4a37-9e2a-8249abf76bce" providerId="ADAL" clId="{C6AF2823-2C75-4FCD-BFFB-3B515502E7A2}" dt="2022-01-03T01:33:59.653" v="4181" actId="47"/>
        <pc:sldMkLst>
          <pc:docMk/>
          <pc:sldMk cId="3474467626" sldId="8680"/>
        </pc:sldMkLst>
        <pc:spChg chg="del">
          <ac:chgData name="Tan, John" userId="e70e5845-51ac-4a37-9e2a-8249abf76bce" providerId="ADAL" clId="{C6AF2823-2C75-4FCD-BFFB-3B515502E7A2}" dt="2022-01-03T01:31:44.546" v="4145" actId="22"/>
          <ac:spMkLst>
            <pc:docMk/>
            <pc:sldMk cId="3474467626" sldId="8680"/>
            <ac:spMk id="2" creationId="{6D92EE03-95EE-44C5-A39E-E6BBB1EE8210}"/>
          </ac:spMkLst>
        </pc:spChg>
        <pc:spChg chg="del">
          <ac:chgData name="Tan, John" userId="e70e5845-51ac-4a37-9e2a-8249abf76bce" providerId="ADAL" clId="{C6AF2823-2C75-4FCD-BFFB-3B515502E7A2}" dt="2022-01-03T01:32:06.479" v="4146" actId="26606"/>
          <ac:spMkLst>
            <pc:docMk/>
            <pc:sldMk cId="3474467626" sldId="8680"/>
            <ac:spMk id="3" creationId="{CE8F4E21-0B79-40AC-985D-933E6619EC0F}"/>
          </ac:spMkLst>
        </pc:spChg>
        <pc:spChg chg="del">
          <ac:chgData name="Tan, John" userId="e70e5845-51ac-4a37-9e2a-8249abf76bce" providerId="ADAL" clId="{C6AF2823-2C75-4FCD-BFFB-3B515502E7A2}" dt="2022-01-03T01:32:06.479" v="4146" actId="26606"/>
          <ac:spMkLst>
            <pc:docMk/>
            <pc:sldMk cId="3474467626" sldId="8680"/>
            <ac:spMk id="4" creationId="{FE33BD13-6F93-430A-92E9-0C10758E4DA7}"/>
          </ac:spMkLst>
        </pc:spChg>
        <pc:spChg chg="add mod">
          <ac:chgData name="Tan, John" userId="e70e5845-51ac-4a37-9e2a-8249abf76bce" providerId="ADAL" clId="{C6AF2823-2C75-4FCD-BFFB-3B515502E7A2}" dt="2022-01-03T01:32:06.479" v="4146" actId="26606"/>
          <ac:spMkLst>
            <pc:docMk/>
            <pc:sldMk cId="3474467626" sldId="8680"/>
            <ac:spMk id="11" creationId="{ABD70B61-58D3-43B7-927C-D6BB497C4F9F}"/>
          </ac:spMkLst>
        </pc:spChg>
        <pc:spChg chg="add mod">
          <ac:chgData name="Tan, John" userId="e70e5845-51ac-4a37-9e2a-8249abf76bce" providerId="ADAL" clId="{C6AF2823-2C75-4FCD-BFFB-3B515502E7A2}" dt="2022-01-03T01:32:46.565" v="4173" actId="1076"/>
          <ac:spMkLst>
            <pc:docMk/>
            <pc:sldMk cId="3474467626" sldId="8680"/>
            <ac:spMk id="13" creationId="{4F76178B-C0A2-4FD2-8675-42AFB845A42E}"/>
          </ac:spMkLst>
        </pc:spChg>
        <pc:picChg chg="add mod ord modCrop">
          <ac:chgData name="Tan, John" userId="e70e5845-51ac-4a37-9e2a-8249abf76bce" providerId="ADAL" clId="{C6AF2823-2C75-4FCD-BFFB-3B515502E7A2}" dt="2022-01-03T01:32:49.598" v="4174" actId="14100"/>
          <ac:picMkLst>
            <pc:docMk/>
            <pc:sldMk cId="3474467626" sldId="8680"/>
            <ac:picMk id="6" creationId="{385A3AEE-5DDF-4DB9-ABB6-9BDC5E1998F5}"/>
          </ac:picMkLst>
        </pc:picChg>
      </pc:sldChg>
      <pc:sldChg chg="modSp new mod ord">
        <pc:chgData name="Tan, John" userId="e70e5845-51ac-4a37-9e2a-8249abf76bce" providerId="ADAL" clId="{C6AF2823-2C75-4FCD-BFFB-3B515502E7A2}" dt="2022-01-03T01:54:43.303" v="4597" actId="20577"/>
        <pc:sldMkLst>
          <pc:docMk/>
          <pc:sldMk cId="1351158687" sldId="8683"/>
        </pc:sldMkLst>
        <pc:spChg chg="mod">
          <ac:chgData name="Tan, John" userId="e70e5845-51ac-4a37-9e2a-8249abf76bce" providerId="ADAL" clId="{C6AF2823-2C75-4FCD-BFFB-3B515502E7A2}" dt="2022-01-03T01:54:43.303" v="4597" actId="20577"/>
          <ac:spMkLst>
            <pc:docMk/>
            <pc:sldMk cId="1351158687" sldId="8683"/>
            <ac:spMk id="4" creationId="{31A78883-B87F-45DB-8361-9DCAD1DFBDE9}"/>
          </ac:spMkLst>
        </pc:spChg>
      </pc:sldChg>
      <pc:sldMasterChg chg="del delSldLayout">
        <pc:chgData name="Tan, John" userId="e70e5845-51ac-4a37-9e2a-8249abf76bce" providerId="ADAL" clId="{C6AF2823-2C75-4FCD-BFFB-3B515502E7A2}" dt="2022-01-01T06:25:32.829" v="3474" actId="47"/>
        <pc:sldMasterMkLst>
          <pc:docMk/>
          <pc:sldMasterMk cId="335190094" sldId="2147483686"/>
        </pc:sldMasterMkLst>
        <pc:sldLayoutChg chg="del">
          <pc:chgData name="Tan, John" userId="e70e5845-51ac-4a37-9e2a-8249abf76bce" providerId="ADAL" clId="{C6AF2823-2C75-4FCD-BFFB-3B515502E7A2}" dt="2022-01-01T06:25:32.829" v="3474" actId="47"/>
          <pc:sldLayoutMkLst>
            <pc:docMk/>
            <pc:sldMasterMk cId="335190094" sldId="2147483686"/>
            <pc:sldLayoutMk cId="3421282298" sldId="2147483687"/>
          </pc:sldLayoutMkLst>
        </pc:sldLayoutChg>
        <pc:sldLayoutChg chg="del">
          <pc:chgData name="Tan, John" userId="e70e5845-51ac-4a37-9e2a-8249abf76bce" providerId="ADAL" clId="{C6AF2823-2C75-4FCD-BFFB-3B515502E7A2}" dt="2022-01-01T06:25:32.829" v="3474" actId="47"/>
          <pc:sldLayoutMkLst>
            <pc:docMk/>
            <pc:sldMasterMk cId="335190094" sldId="2147483686"/>
            <pc:sldLayoutMk cId="1377289136" sldId="2147483688"/>
          </pc:sldLayoutMkLst>
        </pc:sldLayoutChg>
        <pc:sldLayoutChg chg="del">
          <pc:chgData name="Tan, John" userId="e70e5845-51ac-4a37-9e2a-8249abf76bce" providerId="ADAL" clId="{C6AF2823-2C75-4FCD-BFFB-3B515502E7A2}" dt="2022-01-01T06:25:32.829" v="3474" actId="47"/>
          <pc:sldLayoutMkLst>
            <pc:docMk/>
            <pc:sldMasterMk cId="335190094" sldId="2147483686"/>
            <pc:sldLayoutMk cId="3312373700" sldId="2147483689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AD35D08-1541-4289-8133-5412DCAB1977}" type="doc">
      <dgm:prSet loTypeId="urn:microsoft.com/office/officeart/2005/8/layout/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SG"/>
        </a:p>
      </dgm:t>
    </dgm:pt>
    <dgm:pt modelId="{2051E99B-2C27-48E3-B147-7040022265EB}">
      <dgm:prSet phldrT="[Text]"/>
      <dgm:spPr/>
      <dgm:t>
        <a:bodyPr/>
        <a:lstStyle/>
        <a:p>
          <a:r>
            <a:rPr lang="en-US" dirty="0"/>
            <a:t>RPA Champion</a:t>
          </a:r>
          <a:endParaRPr lang="en-SG" dirty="0"/>
        </a:p>
      </dgm:t>
    </dgm:pt>
    <dgm:pt modelId="{C52439AD-BFDE-4EBF-AFB4-7D760AFFDD45}" type="parTrans" cxnId="{98B68799-BB91-427B-B472-784576F42C6B}">
      <dgm:prSet/>
      <dgm:spPr/>
      <dgm:t>
        <a:bodyPr/>
        <a:lstStyle/>
        <a:p>
          <a:endParaRPr lang="en-SG"/>
        </a:p>
      </dgm:t>
    </dgm:pt>
    <dgm:pt modelId="{401E440C-25CD-4B61-8AB3-0C9635F62A9C}" type="sibTrans" cxnId="{98B68799-BB91-427B-B472-784576F42C6B}">
      <dgm:prSet/>
      <dgm:spPr/>
      <dgm:t>
        <a:bodyPr/>
        <a:lstStyle/>
        <a:p>
          <a:endParaRPr lang="en-SG"/>
        </a:p>
      </dgm:t>
    </dgm:pt>
    <dgm:pt modelId="{EF02145C-6FAA-4604-90BB-56AB67D68A7C}">
      <dgm:prSet phldrT="[Text]"/>
      <dgm:spPr/>
      <dgm:t>
        <a:bodyPr/>
        <a:lstStyle/>
        <a:p>
          <a:r>
            <a:rPr lang="en-US" b="1" dirty="0"/>
            <a:t>Ideation</a:t>
          </a:r>
          <a:endParaRPr lang="en-SG" b="1" dirty="0"/>
        </a:p>
      </dgm:t>
    </dgm:pt>
    <dgm:pt modelId="{11176387-DD4D-4650-B646-1F90189F4B84}" type="parTrans" cxnId="{37757C86-B622-40F1-AB83-EFE1D5ECBE99}">
      <dgm:prSet/>
      <dgm:spPr/>
      <dgm:t>
        <a:bodyPr/>
        <a:lstStyle/>
        <a:p>
          <a:endParaRPr lang="en-SG"/>
        </a:p>
      </dgm:t>
    </dgm:pt>
    <dgm:pt modelId="{5D76A41F-2F65-4D9C-BAE0-5EEB52A0342E}" type="sibTrans" cxnId="{37757C86-B622-40F1-AB83-EFE1D5ECBE99}">
      <dgm:prSet/>
      <dgm:spPr/>
      <dgm:t>
        <a:bodyPr/>
        <a:lstStyle/>
        <a:p>
          <a:endParaRPr lang="en-SG"/>
        </a:p>
      </dgm:t>
    </dgm:pt>
    <dgm:pt modelId="{499EEEC8-A370-4E4C-A2ED-71A6F21EEC25}">
      <dgm:prSet phldrT="[Text]"/>
      <dgm:spPr/>
      <dgm:t>
        <a:bodyPr/>
        <a:lstStyle/>
        <a:p>
          <a:r>
            <a:rPr lang="en-US" dirty="0"/>
            <a:t>Functional Lead</a:t>
          </a:r>
          <a:endParaRPr lang="en-SG" dirty="0"/>
        </a:p>
      </dgm:t>
    </dgm:pt>
    <dgm:pt modelId="{E8C26FDF-6BDA-4E72-AF32-6C2ECBFA2EAB}" type="parTrans" cxnId="{10CF2212-8160-4FA5-A356-F1A444D1C76B}">
      <dgm:prSet/>
      <dgm:spPr/>
      <dgm:t>
        <a:bodyPr/>
        <a:lstStyle/>
        <a:p>
          <a:endParaRPr lang="en-SG"/>
        </a:p>
      </dgm:t>
    </dgm:pt>
    <dgm:pt modelId="{56E73710-63A7-459A-8C55-D2662A06223F}" type="sibTrans" cxnId="{10CF2212-8160-4FA5-A356-F1A444D1C76B}">
      <dgm:prSet/>
      <dgm:spPr/>
      <dgm:t>
        <a:bodyPr/>
        <a:lstStyle/>
        <a:p>
          <a:endParaRPr lang="en-SG"/>
        </a:p>
      </dgm:t>
    </dgm:pt>
    <dgm:pt modelId="{AC3F2C11-999A-49B5-8E1F-74B5BCD69B96}">
      <dgm:prSet phldrT="[Text]"/>
      <dgm:spPr/>
      <dgm:t>
        <a:bodyPr/>
        <a:lstStyle/>
        <a:p>
          <a:r>
            <a:rPr lang="en-US" dirty="0"/>
            <a:t>Approve</a:t>
          </a:r>
          <a:endParaRPr lang="en-SG" dirty="0"/>
        </a:p>
      </dgm:t>
    </dgm:pt>
    <dgm:pt modelId="{10DFE244-22BA-4ECA-BDB7-B1540F7A3CDE}" type="parTrans" cxnId="{2A0C99E2-B550-4449-B657-C32F57EF000E}">
      <dgm:prSet/>
      <dgm:spPr/>
      <dgm:t>
        <a:bodyPr/>
        <a:lstStyle/>
        <a:p>
          <a:endParaRPr lang="en-SG"/>
        </a:p>
      </dgm:t>
    </dgm:pt>
    <dgm:pt modelId="{0EBF2AC3-9133-4DD8-95C8-53554A2AC9F6}" type="sibTrans" cxnId="{2A0C99E2-B550-4449-B657-C32F57EF000E}">
      <dgm:prSet/>
      <dgm:spPr/>
      <dgm:t>
        <a:bodyPr/>
        <a:lstStyle/>
        <a:p>
          <a:endParaRPr lang="en-SG"/>
        </a:p>
      </dgm:t>
    </dgm:pt>
    <dgm:pt modelId="{CCF34AE0-AA86-4892-9FB7-A0B80D30A54B}">
      <dgm:prSet phldrT="[Text]" custT="1"/>
      <dgm:spPr/>
      <dgm:t>
        <a:bodyPr/>
        <a:lstStyle/>
        <a:p>
          <a:r>
            <a:rPr lang="en-US" sz="2000" dirty="0"/>
            <a:t>RPA COE / RPA Citizen</a:t>
          </a:r>
          <a:endParaRPr lang="en-SG" sz="2000" dirty="0"/>
        </a:p>
      </dgm:t>
    </dgm:pt>
    <dgm:pt modelId="{F955CAE6-9FFC-4678-862B-46CE803EB2B1}" type="parTrans" cxnId="{03AAA56C-A6C0-442E-A025-CB2086225DA6}">
      <dgm:prSet/>
      <dgm:spPr/>
      <dgm:t>
        <a:bodyPr/>
        <a:lstStyle/>
        <a:p>
          <a:endParaRPr lang="en-SG"/>
        </a:p>
      </dgm:t>
    </dgm:pt>
    <dgm:pt modelId="{107A18AD-8482-4A98-95C4-8DDCB2C060EA}" type="sibTrans" cxnId="{03AAA56C-A6C0-442E-A025-CB2086225DA6}">
      <dgm:prSet/>
      <dgm:spPr/>
      <dgm:t>
        <a:bodyPr/>
        <a:lstStyle/>
        <a:p>
          <a:endParaRPr lang="en-SG"/>
        </a:p>
      </dgm:t>
    </dgm:pt>
    <dgm:pt modelId="{C4AF017D-D4C6-4638-983F-064E4E833F11}">
      <dgm:prSet phldrT="[Text]"/>
      <dgm:spPr/>
      <dgm:t>
        <a:bodyPr/>
        <a:lstStyle/>
        <a:p>
          <a:r>
            <a:rPr lang="en-US" dirty="0"/>
            <a:t>Code</a:t>
          </a:r>
          <a:endParaRPr lang="en-SG" dirty="0"/>
        </a:p>
      </dgm:t>
    </dgm:pt>
    <dgm:pt modelId="{B10B188D-431B-462A-8CCE-89B9A65A48E8}" type="parTrans" cxnId="{FE5C26C9-769F-4EA9-B727-D6DDF1D484D7}">
      <dgm:prSet/>
      <dgm:spPr/>
      <dgm:t>
        <a:bodyPr/>
        <a:lstStyle/>
        <a:p>
          <a:endParaRPr lang="en-SG"/>
        </a:p>
      </dgm:t>
    </dgm:pt>
    <dgm:pt modelId="{7C0EC893-CFAE-4E6B-877A-89F07880CE19}" type="sibTrans" cxnId="{FE5C26C9-769F-4EA9-B727-D6DDF1D484D7}">
      <dgm:prSet/>
      <dgm:spPr/>
      <dgm:t>
        <a:bodyPr/>
        <a:lstStyle/>
        <a:p>
          <a:endParaRPr lang="en-SG"/>
        </a:p>
      </dgm:t>
    </dgm:pt>
    <dgm:pt modelId="{05D1E216-8F34-41A2-AF68-CF4EFC126CF5}">
      <dgm:prSet phldrT="[Text]"/>
      <dgm:spPr/>
      <dgm:t>
        <a:bodyPr/>
        <a:lstStyle/>
        <a:p>
          <a:endParaRPr lang="en-SG" dirty="0"/>
        </a:p>
      </dgm:t>
    </dgm:pt>
    <dgm:pt modelId="{9B424B9E-2922-46EE-9448-69A095FF097A}" type="parTrans" cxnId="{000EF1B1-0D3A-4FB9-93B6-32337010626D}">
      <dgm:prSet/>
      <dgm:spPr/>
      <dgm:t>
        <a:bodyPr/>
        <a:lstStyle/>
        <a:p>
          <a:endParaRPr lang="en-SG"/>
        </a:p>
      </dgm:t>
    </dgm:pt>
    <dgm:pt modelId="{E7E3E429-085C-4BF2-AA82-990F4FA18BF8}" type="sibTrans" cxnId="{000EF1B1-0D3A-4FB9-93B6-32337010626D}">
      <dgm:prSet/>
      <dgm:spPr/>
      <dgm:t>
        <a:bodyPr/>
        <a:lstStyle/>
        <a:p>
          <a:endParaRPr lang="en-SG"/>
        </a:p>
      </dgm:t>
    </dgm:pt>
    <dgm:pt modelId="{7A6F69CE-8D97-4DB5-9707-CC6B9EF18F78}">
      <dgm:prSet phldrT="[Text]"/>
      <dgm:spPr/>
      <dgm:t>
        <a:bodyPr/>
        <a:lstStyle/>
        <a:p>
          <a:r>
            <a:rPr lang="en-US" dirty="0"/>
            <a:t>Checklist</a:t>
          </a:r>
          <a:endParaRPr lang="en-SG" dirty="0"/>
        </a:p>
      </dgm:t>
    </dgm:pt>
    <dgm:pt modelId="{233ADAE0-B570-4F2D-9B5F-9682BB58E823}" type="parTrans" cxnId="{B5499FCD-28F2-40CA-A8EF-BBA017FC317A}">
      <dgm:prSet/>
      <dgm:spPr/>
      <dgm:t>
        <a:bodyPr/>
        <a:lstStyle/>
        <a:p>
          <a:endParaRPr lang="en-SG"/>
        </a:p>
      </dgm:t>
    </dgm:pt>
    <dgm:pt modelId="{BD0E2C06-D460-48FA-A53C-73E942BFF117}" type="sibTrans" cxnId="{B5499FCD-28F2-40CA-A8EF-BBA017FC317A}">
      <dgm:prSet/>
      <dgm:spPr/>
      <dgm:t>
        <a:bodyPr/>
        <a:lstStyle/>
        <a:p>
          <a:endParaRPr lang="en-SG"/>
        </a:p>
      </dgm:t>
    </dgm:pt>
    <dgm:pt modelId="{42A84E7F-0C4C-47BE-89EF-76C68BB4D959}">
      <dgm:prSet phldrT="[Text]"/>
      <dgm:spPr/>
      <dgm:t>
        <a:bodyPr/>
        <a:lstStyle/>
        <a:p>
          <a:r>
            <a:rPr lang="en-US" dirty="0"/>
            <a:t>Design</a:t>
          </a:r>
          <a:endParaRPr lang="en-SG" dirty="0"/>
        </a:p>
      </dgm:t>
    </dgm:pt>
    <dgm:pt modelId="{0C6CA27F-3AA2-4D08-A223-579BB34FAAA8}" type="parTrans" cxnId="{A4D1FFE0-6970-4D84-899B-515DBCEE2796}">
      <dgm:prSet/>
      <dgm:spPr/>
      <dgm:t>
        <a:bodyPr/>
        <a:lstStyle/>
        <a:p>
          <a:endParaRPr lang="en-SG"/>
        </a:p>
      </dgm:t>
    </dgm:pt>
    <dgm:pt modelId="{8ED88DE0-2B7D-4ED6-9DFE-ADD2E7E01E26}" type="sibTrans" cxnId="{A4D1FFE0-6970-4D84-899B-515DBCEE2796}">
      <dgm:prSet/>
      <dgm:spPr/>
      <dgm:t>
        <a:bodyPr/>
        <a:lstStyle/>
        <a:p>
          <a:endParaRPr lang="en-SG"/>
        </a:p>
      </dgm:t>
    </dgm:pt>
    <dgm:pt modelId="{395A08F1-8EED-4419-96ED-7D2D117E632D}">
      <dgm:prSet phldrT="[Text]"/>
      <dgm:spPr/>
      <dgm:t>
        <a:bodyPr/>
        <a:lstStyle/>
        <a:p>
          <a:r>
            <a:rPr lang="en-US" dirty="0"/>
            <a:t>Assess</a:t>
          </a:r>
          <a:endParaRPr lang="en-SG" dirty="0"/>
        </a:p>
      </dgm:t>
    </dgm:pt>
    <dgm:pt modelId="{EF8ECA72-1CDF-4F4B-B143-DB7F16665EE2}" type="parTrans" cxnId="{A9D7ED57-5B70-47C6-8B54-59C2F8689E1F}">
      <dgm:prSet/>
      <dgm:spPr/>
      <dgm:t>
        <a:bodyPr/>
        <a:lstStyle/>
        <a:p>
          <a:endParaRPr lang="en-SG"/>
        </a:p>
      </dgm:t>
    </dgm:pt>
    <dgm:pt modelId="{5D5FAB1C-02C5-4B6E-AD9F-0DF2FE7853A0}" type="sibTrans" cxnId="{A9D7ED57-5B70-47C6-8B54-59C2F8689E1F}">
      <dgm:prSet/>
      <dgm:spPr/>
      <dgm:t>
        <a:bodyPr/>
        <a:lstStyle/>
        <a:p>
          <a:endParaRPr lang="en-SG"/>
        </a:p>
      </dgm:t>
    </dgm:pt>
    <dgm:pt modelId="{4D6698D0-8740-4299-9F5F-115C4173BEF0}">
      <dgm:prSet phldrT="[Text]"/>
      <dgm:spPr/>
      <dgm:t>
        <a:bodyPr/>
        <a:lstStyle/>
        <a:p>
          <a:r>
            <a:rPr lang="en-US" dirty="0"/>
            <a:t>Review</a:t>
          </a:r>
          <a:endParaRPr lang="en-SG" dirty="0"/>
        </a:p>
      </dgm:t>
    </dgm:pt>
    <dgm:pt modelId="{EBF7B7A9-435A-4377-9CF5-DBEFF8592B07}" type="parTrans" cxnId="{F322E456-C087-4DCA-A8D0-1F3574701B13}">
      <dgm:prSet/>
      <dgm:spPr/>
      <dgm:t>
        <a:bodyPr/>
        <a:lstStyle/>
        <a:p>
          <a:endParaRPr lang="en-SG"/>
        </a:p>
      </dgm:t>
    </dgm:pt>
    <dgm:pt modelId="{7B571F30-466D-41FA-B5AE-C309E60CF45A}" type="sibTrans" cxnId="{F322E456-C087-4DCA-A8D0-1F3574701B13}">
      <dgm:prSet/>
      <dgm:spPr/>
      <dgm:t>
        <a:bodyPr/>
        <a:lstStyle/>
        <a:p>
          <a:endParaRPr lang="en-SG"/>
        </a:p>
      </dgm:t>
    </dgm:pt>
    <dgm:pt modelId="{423DB115-42E4-4F88-9FAF-B39CD739A0C0}">
      <dgm:prSet phldrT="[Text]"/>
      <dgm:spPr/>
      <dgm:t>
        <a:bodyPr/>
        <a:lstStyle/>
        <a:p>
          <a:endParaRPr lang="en-SG" b="1" dirty="0"/>
        </a:p>
      </dgm:t>
    </dgm:pt>
    <dgm:pt modelId="{8A04B0D4-CF69-48A2-A07D-0778C0A44687}" type="parTrans" cxnId="{B895A0A0-D6B6-43C0-934D-DD78BB37643D}">
      <dgm:prSet/>
      <dgm:spPr/>
      <dgm:t>
        <a:bodyPr/>
        <a:lstStyle/>
        <a:p>
          <a:endParaRPr lang="en-SG"/>
        </a:p>
      </dgm:t>
    </dgm:pt>
    <dgm:pt modelId="{37238443-EE72-4F61-9625-1D828A97D444}" type="sibTrans" cxnId="{B895A0A0-D6B6-43C0-934D-DD78BB37643D}">
      <dgm:prSet/>
      <dgm:spPr/>
      <dgm:t>
        <a:bodyPr/>
        <a:lstStyle/>
        <a:p>
          <a:endParaRPr lang="en-SG"/>
        </a:p>
      </dgm:t>
    </dgm:pt>
    <dgm:pt modelId="{66FF4722-2E87-45FE-A4DC-1307F2444FE2}" type="pres">
      <dgm:prSet presAssocID="{4AD35D08-1541-4289-8133-5412DCAB1977}" presName="linearFlow" presStyleCnt="0">
        <dgm:presLayoutVars>
          <dgm:dir/>
          <dgm:animLvl val="lvl"/>
          <dgm:resizeHandles val="exact"/>
        </dgm:presLayoutVars>
      </dgm:prSet>
      <dgm:spPr/>
    </dgm:pt>
    <dgm:pt modelId="{C1071C65-5699-4B99-AF0A-DF1CBE5AC109}" type="pres">
      <dgm:prSet presAssocID="{2051E99B-2C27-48E3-B147-7040022265EB}" presName="composite" presStyleCnt="0"/>
      <dgm:spPr/>
    </dgm:pt>
    <dgm:pt modelId="{4155968C-4842-4AE3-9EE2-34600498E024}" type="pres">
      <dgm:prSet presAssocID="{2051E99B-2C27-48E3-B147-7040022265EB}" presName="par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BC5FA69C-957A-4ED2-9D18-CA6AFD5D7E63}" type="pres">
      <dgm:prSet presAssocID="{2051E99B-2C27-48E3-B147-7040022265EB}" presName="parSh" presStyleLbl="node1" presStyleIdx="0" presStyleCnt="3"/>
      <dgm:spPr/>
    </dgm:pt>
    <dgm:pt modelId="{1F826829-80F5-4E7C-A935-B6EC2254BC5F}" type="pres">
      <dgm:prSet presAssocID="{2051E99B-2C27-48E3-B147-7040022265EB}" presName="desTx" presStyleLbl="fgAcc1" presStyleIdx="0" presStyleCnt="3">
        <dgm:presLayoutVars>
          <dgm:bulletEnabled val="1"/>
        </dgm:presLayoutVars>
      </dgm:prSet>
      <dgm:spPr/>
    </dgm:pt>
    <dgm:pt modelId="{46495FFD-67E5-49DB-8695-0086838DB528}" type="pres">
      <dgm:prSet presAssocID="{401E440C-25CD-4B61-8AB3-0C9635F62A9C}" presName="sibTrans" presStyleLbl="sibTrans2D1" presStyleIdx="0" presStyleCnt="2"/>
      <dgm:spPr/>
    </dgm:pt>
    <dgm:pt modelId="{4853E162-3814-413C-81A3-35032D567CE1}" type="pres">
      <dgm:prSet presAssocID="{401E440C-25CD-4B61-8AB3-0C9635F62A9C}" presName="connTx" presStyleLbl="sibTrans2D1" presStyleIdx="0" presStyleCnt="2"/>
      <dgm:spPr/>
    </dgm:pt>
    <dgm:pt modelId="{9BA34C9F-84FF-4FA8-92C5-75A4AF5B0922}" type="pres">
      <dgm:prSet presAssocID="{499EEEC8-A370-4E4C-A2ED-71A6F21EEC25}" presName="composite" presStyleCnt="0"/>
      <dgm:spPr/>
    </dgm:pt>
    <dgm:pt modelId="{540E3CF2-905E-4B22-9520-940E5A57A6DC}" type="pres">
      <dgm:prSet presAssocID="{499EEEC8-A370-4E4C-A2ED-71A6F21EEC25}" presName="par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F21B2089-93E9-442D-B98A-815252915AF3}" type="pres">
      <dgm:prSet presAssocID="{499EEEC8-A370-4E4C-A2ED-71A6F21EEC25}" presName="parSh" presStyleLbl="node1" presStyleIdx="1" presStyleCnt="3"/>
      <dgm:spPr/>
    </dgm:pt>
    <dgm:pt modelId="{A778123B-267F-4E29-994E-EE6E090F92B0}" type="pres">
      <dgm:prSet presAssocID="{499EEEC8-A370-4E4C-A2ED-71A6F21EEC25}" presName="desTx" presStyleLbl="fgAcc1" presStyleIdx="1" presStyleCnt="3">
        <dgm:presLayoutVars>
          <dgm:bulletEnabled val="1"/>
        </dgm:presLayoutVars>
      </dgm:prSet>
      <dgm:spPr/>
    </dgm:pt>
    <dgm:pt modelId="{CE272817-8D19-46C8-9A85-14C054A63CCF}" type="pres">
      <dgm:prSet presAssocID="{56E73710-63A7-459A-8C55-D2662A06223F}" presName="sibTrans" presStyleLbl="sibTrans2D1" presStyleIdx="1" presStyleCnt="2"/>
      <dgm:spPr/>
    </dgm:pt>
    <dgm:pt modelId="{04C17A76-CB37-47E0-A1E1-BE92D8AF432C}" type="pres">
      <dgm:prSet presAssocID="{56E73710-63A7-459A-8C55-D2662A06223F}" presName="connTx" presStyleLbl="sibTrans2D1" presStyleIdx="1" presStyleCnt="2"/>
      <dgm:spPr/>
    </dgm:pt>
    <dgm:pt modelId="{F9E25492-FBB8-407C-8266-5DD5839004A5}" type="pres">
      <dgm:prSet presAssocID="{CCF34AE0-AA86-4892-9FB7-A0B80D30A54B}" presName="composite" presStyleCnt="0"/>
      <dgm:spPr/>
    </dgm:pt>
    <dgm:pt modelId="{090FC8D7-A6EB-4624-A599-BE38992B1106}" type="pres">
      <dgm:prSet presAssocID="{CCF34AE0-AA86-4892-9FB7-A0B80D30A54B}" presName="par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8918B2C1-CE88-4A63-B718-6AF1D934BABA}" type="pres">
      <dgm:prSet presAssocID="{CCF34AE0-AA86-4892-9FB7-A0B80D30A54B}" presName="parSh" presStyleLbl="node1" presStyleIdx="2" presStyleCnt="3"/>
      <dgm:spPr/>
    </dgm:pt>
    <dgm:pt modelId="{1DA2BA85-39B3-4DC1-A024-79623177057C}" type="pres">
      <dgm:prSet presAssocID="{CCF34AE0-AA86-4892-9FB7-A0B80D30A54B}" presName="desTx" presStyleLbl="fgAcc1" presStyleIdx="2" presStyleCnt="3">
        <dgm:presLayoutVars>
          <dgm:bulletEnabled val="1"/>
        </dgm:presLayoutVars>
      </dgm:prSet>
      <dgm:spPr/>
    </dgm:pt>
  </dgm:ptLst>
  <dgm:cxnLst>
    <dgm:cxn modelId="{B445CC0E-F4C9-4AE4-AAF9-CF64B214F866}" type="presOf" srcId="{CCF34AE0-AA86-4892-9FB7-A0B80D30A54B}" destId="{8918B2C1-CE88-4A63-B718-6AF1D934BABA}" srcOrd="1" destOrd="0" presId="urn:microsoft.com/office/officeart/2005/8/layout/process3"/>
    <dgm:cxn modelId="{10CF2212-8160-4FA5-A356-F1A444D1C76B}" srcId="{4AD35D08-1541-4289-8133-5412DCAB1977}" destId="{499EEEC8-A370-4E4C-A2ED-71A6F21EEC25}" srcOrd="1" destOrd="0" parTransId="{E8C26FDF-6BDA-4E72-AF32-6C2ECBFA2EAB}" sibTransId="{56E73710-63A7-459A-8C55-D2662A06223F}"/>
    <dgm:cxn modelId="{49151C14-3066-4AD6-B947-EFA23BA9F3EA}" type="presOf" srcId="{AC3F2C11-999A-49B5-8E1F-74B5BCD69B96}" destId="{A778123B-267F-4E29-994E-EE6E090F92B0}" srcOrd="0" destOrd="1" presId="urn:microsoft.com/office/officeart/2005/8/layout/process3"/>
    <dgm:cxn modelId="{43824B17-408B-46BC-9BAA-F2678FD94198}" type="presOf" srcId="{423DB115-42E4-4F88-9FAF-B39CD739A0C0}" destId="{1F826829-80F5-4E7C-A935-B6EC2254BC5F}" srcOrd="0" destOrd="1" presId="urn:microsoft.com/office/officeart/2005/8/layout/process3"/>
    <dgm:cxn modelId="{E300D01F-2C2C-40F7-8F13-8C3EC0219447}" type="presOf" srcId="{395A08F1-8EED-4419-96ED-7D2D117E632D}" destId="{1DA2BA85-39B3-4DC1-A024-79623177057C}" srcOrd="0" destOrd="0" presId="urn:microsoft.com/office/officeart/2005/8/layout/process3"/>
    <dgm:cxn modelId="{260A1F3F-67DE-4051-83DB-EFD5606D2D70}" type="presOf" srcId="{C4AF017D-D4C6-4638-983F-064E4E833F11}" destId="{1DA2BA85-39B3-4DC1-A024-79623177057C}" srcOrd="0" destOrd="2" presId="urn:microsoft.com/office/officeart/2005/8/layout/process3"/>
    <dgm:cxn modelId="{5669B95E-6BEE-4AE4-BE33-664E1FCF3F71}" type="presOf" srcId="{499EEEC8-A370-4E4C-A2ED-71A6F21EEC25}" destId="{540E3CF2-905E-4B22-9520-940E5A57A6DC}" srcOrd="0" destOrd="0" presId="urn:microsoft.com/office/officeart/2005/8/layout/process3"/>
    <dgm:cxn modelId="{3C72D941-5A4A-4E5E-BFC4-46D8036EEB68}" type="presOf" srcId="{4D6698D0-8740-4299-9F5F-115C4173BEF0}" destId="{A778123B-267F-4E29-994E-EE6E090F92B0}" srcOrd="0" destOrd="0" presId="urn:microsoft.com/office/officeart/2005/8/layout/process3"/>
    <dgm:cxn modelId="{03AAA56C-A6C0-442E-A025-CB2086225DA6}" srcId="{4AD35D08-1541-4289-8133-5412DCAB1977}" destId="{CCF34AE0-AA86-4892-9FB7-A0B80D30A54B}" srcOrd="2" destOrd="0" parTransId="{F955CAE6-9FFC-4678-862B-46CE803EB2B1}" sibTransId="{107A18AD-8482-4A98-95C4-8DDCB2C060EA}"/>
    <dgm:cxn modelId="{8C629D50-FE69-45C0-8508-3E6112213D05}" type="presOf" srcId="{401E440C-25CD-4B61-8AB3-0C9635F62A9C}" destId="{4853E162-3814-413C-81A3-35032D567CE1}" srcOrd="1" destOrd="0" presId="urn:microsoft.com/office/officeart/2005/8/layout/process3"/>
    <dgm:cxn modelId="{C5717B53-32C1-4091-96C3-597043BA15DF}" type="presOf" srcId="{499EEEC8-A370-4E4C-A2ED-71A6F21EEC25}" destId="{F21B2089-93E9-442D-B98A-815252915AF3}" srcOrd="1" destOrd="0" presId="urn:microsoft.com/office/officeart/2005/8/layout/process3"/>
    <dgm:cxn modelId="{F322E456-C087-4DCA-A8D0-1F3574701B13}" srcId="{499EEEC8-A370-4E4C-A2ED-71A6F21EEC25}" destId="{4D6698D0-8740-4299-9F5F-115C4173BEF0}" srcOrd="0" destOrd="0" parTransId="{EBF7B7A9-435A-4377-9CF5-DBEFF8592B07}" sibTransId="{7B571F30-466D-41FA-B5AE-C309E60CF45A}"/>
    <dgm:cxn modelId="{A9D7ED57-5B70-47C6-8B54-59C2F8689E1F}" srcId="{CCF34AE0-AA86-4892-9FB7-A0B80D30A54B}" destId="{395A08F1-8EED-4419-96ED-7D2D117E632D}" srcOrd="0" destOrd="0" parTransId="{EF8ECA72-1CDF-4F4B-B143-DB7F16665EE2}" sibTransId="{5D5FAB1C-02C5-4B6E-AD9F-0DF2FE7853A0}"/>
    <dgm:cxn modelId="{B89A767E-963F-46B7-915D-17BEC363B67F}" type="presOf" srcId="{05D1E216-8F34-41A2-AF68-CF4EFC126CF5}" destId="{1F826829-80F5-4E7C-A935-B6EC2254BC5F}" srcOrd="0" destOrd="3" presId="urn:microsoft.com/office/officeart/2005/8/layout/process3"/>
    <dgm:cxn modelId="{6EE42B81-DC73-4116-9E9B-18BFC8143559}" type="presOf" srcId="{56E73710-63A7-459A-8C55-D2662A06223F}" destId="{04C17A76-CB37-47E0-A1E1-BE92D8AF432C}" srcOrd="1" destOrd="0" presId="urn:microsoft.com/office/officeart/2005/8/layout/process3"/>
    <dgm:cxn modelId="{37757C86-B622-40F1-AB83-EFE1D5ECBE99}" srcId="{2051E99B-2C27-48E3-B147-7040022265EB}" destId="{EF02145C-6FAA-4604-90BB-56AB67D68A7C}" srcOrd="0" destOrd="0" parTransId="{11176387-DD4D-4650-B646-1F90189F4B84}" sibTransId="{5D76A41F-2F65-4D9C-BAE0-5EEB52A0342E}"/>
    <dgm:cxn modelId="{D2D9538D-B772-4359-A6A7-AA51FA09F561}" type="presOf" srcId="{56E73710-63A7-459A-8C55-D2662A06223F}" destId="{CE272817-8D19-46C8-9A85-14C054A63CCF}" srcOrd="0" destOrd="0" presId="urn:microsoft.com/office/officeart/2005/8/layout/process3"/>
    <dgm:cxn modelId="{A0A5CC98-9CB7-4334-A125-8B0F4B18E283}" type="presOf" srcId="{401E440C-25CD-4B61-8AB3-0C9635F62A9C}" destId="{46495FFD-67E5-49DB-8695-0086838DB528}" srcOrd="0" destOrd="0" presId="urn:microsoft.com/office/officeart/2005/8/layout/process3"/>
    <dgm:cxn modelId="{98B68799-BB91-427B-B472-784576F42C6B}" srcId="{4AD35D08-1541-4289-8133-5412DCAB1977}" destId="{2051E99B-2C27-48E3-B147-7040022265EB}" srcOrd="0" destOrd="0" parTransId="{C52439AD-BFDE-4EBF-AFB4-7D760AFFDD45}" sibTransId="{401E440C-25CD-4B61-8AB3-0C9635F62A9C}"/>
    <dgm:cxn modelId="{2D2E829A-80F9-4754-A6BB-996DB6BF22E3}" type="presOf" srcId="{4AD35D08-1541-4289-8133-5412DCAB1977}" destId="{66FF4722-2E87-45FE-A4DC-1307F2444FE2}" srcOrd="0" destOrd="0" presId="urn:microsoft.com/office/officeart/2005/8/layout/process3"/>
    <dgm:cxn modelId="{B895A0A0-D6B6-43C0-934D-DD78BB37643D}" srcId="{2051E99B-2C27-48E3-B147-7040022265EB}" destId="{423DB115-42E4-4F88-9FAF-B39CD739A0C0}" srcOrd="1" destOrd="0" parTransId="{8A04B0D4-CF69-48A2-A07D-0778C0A44687}" sibTransId="{37238443-EE72-4F61-9625-1D828A97D444}"/>
    <dgm:cxn modelId="{000EF1B1-0D3A-4FB9-93B6-32337010626D}" srcId="{2051E99B-2C27-48E3-B147-7040022265EB}" destId="{05D1E216-8F34-41A2-AF68-CF4EFC126CF5}" srcOrd="3" destOrd="0" parTransId="{9B424B9E-2922-46EE-9448-69A095FF097A}" sibTransId="{E7E3E429-085C-4BF2-AA82-990F4FA18BF8}"/>
    <dgm:cxn modelId="{AA1A79B8-8D7C-4A16-A2CC-D3355E8146E6}" type="presOf" srcId="{42A84E7F-0C4C-47BE-89EF-76C68BB4D959}" destId="{1DA2BA85-39B3-4DC1-A024-79623177057C}" srcOrd="0" destOrd="1" presId="urn:microsoft.com/office/officeart/2005/8/layout/process3"/>
    <dgm:cxn modelId="{FE5C26C9-769F-4EA9-B727-D6DDF1D484D7}" srcId="{CCF34AE0-AA86-4892-9FB7-A0B80D30A54B}" destId="{C4AF017D-D4C6-4638-983F-064E4E833F11}" srcOrd="2" destOrd="0" parTransId="{B10B188D-431B-462A-8CCE-89B9A65A48E8}" sibTransId="{7C0EC893-CFAE-4E6B-877A-89F07880CE19}"/>
    <dgm:cxn modelId="{8F9A68CA-1FF4-46FF-BFB8-53C967EB66BB}" type="presOf" srcId="{EF02145C-6FAA-4604-90BB-56AB67D68A7C}" destId="{1F826829-80F5-4E7C-A935-B6EC2254BC5F}" srcOrd="0" destOrd="0" presId="urn:microsoft.com/office/officeart/2005/8/layout/process3"/>
    <dgm:cxn modelId="{B5499FCD-28F2-40CA-A8EF-BBA017FC317A}" srcId="{2051E99B-2C27-48E3-B147-7040022265EB}" destId="{7A6F69CE-8D97-4DB5-9707-CC6B9EF18F78}" srcOrd="2" destOrd="0" parTransId="{233ADAE0-B570-4F2D-9B5F-9682BB58E823}" sibTransId="{BD0E2C06-D460-48FA-A53C-73E942BFF117}"/>
    <dgm:cxn modelId="{410257D7-7CDB-48AD-B80C-9DA1E76186B5}" type="presOf" srcId="{CCF34AE0-AA86-4892-9FB7-A0B80D30A54B}" destId="{090FC8D7-A6EB-4624-A599-BE38992B1106}" srcOrd="0" destOrd="0" presId="urn:microsoft.com/office/officeart/2005/8/layout/process3"/>
    <dgm:cxn modelId="{ED9B26DA-7F8A-4E3D-942C-064C14AA3A65}" type="presOf" srcId="{2051E99B-2C27-48E3-B147-7040022265EB}" destId="{BC5FA69C-957A-4ED2-9D18-CA6AFD5D7E63}" srcOrd="1" destOrd="0" presId="urn:microsoft.com/office/officeart/2005/8/layout/process3"/>
    <dgm:cxn modelId="{A4D1FFE0-6970-4D84-899B-515DBCEE2796}" srcId="{CCF34AE0-AA86-4892-9FB7-A0B80D30A54B}" destId="{42A84E7F-0C4C-47BE-89EF-76C68BB4D959}" srcOrd="1" destOrd="0" parTransId="{0C6CA27F-3AA2-4D08-A223-579BB34FAAA8}" sibTransId="{8ED88DE0-2B7D-4ED6-9DFE-ADD2E7E01E26}"/>
    <dgm:cxn modelId="{2A0C99E2-B550-4449-B657-C32F57EF000E}" srcId="{499EEEC8-A370-4E4C-A2ED-71A6F21EEC25}" destId="{AC3F2C11-999A-49B5-8E1F-74B5BCD69B96}" srcOrd="1" destOrd="0" parTransId="{10DFE244-22BA-4ECA-BDB7-B1540F7A3CDE}" sibTransId="{0EBF2AC3-9133-4DD8-95C8-53554A2AC9F6}"/>
    <dgm:cxn modelId="{4B06FBF7-B60D-442E-AC60-E22A4FB49484}" type="presOf" srcId="{7A6F69CE-8D97-4DB5-9707-CC6B9EF18F78}" destId="{1F826829-80F5-4E7C-A935-B6EC2254BC5F}" srcOrd="0" destOrd="2" presId="urn:microsoft.com/office/officeart/2005/8/layout/process3"/>
    <dgm:cxn modelId="{A83AACFC-7293-486B-BB74-72812A34F0F0}" type="presOf" srcId="{2051E99B-2C27-48E3-B147-7040022265EB}" destId="{4155968C-4842-4AE3-9EE2-34600498E024}" srcOrd="0" destOrd="0" presId="urn:microsoft.com/office/officeart/2005/8/layout/process3"/>
    <dgm:cxn modelId="{FD8A7AC5-7A61-4C7F-A0D9-F8AAD4279897}" type="presParOf" srcId="{66FF4722-2E87-45FE-A4DC-1307F2444FE2}" destId="{C1071C65-5699-4B99-AF0A-DF1CBE5AC109}" srcOrd="0" destOrd="0" presId="urn:microsoft.com/office/officeart/2005/8/layout/process3"/>
    <dgm:cxn modelId="{1D52C19A-963E-42F5-A69E-A861249C4961}" type="presParOf" srcId="{C1071C65-5699-4B99-AF0A-DF1CBE5AC109}" destId="{4155968C-4842-4AE3-9EE2-34600498E024}" srcOrd="0" destOrd="0" presId="urn:microsoft.com/office/officeart/2005/8/layout/process3"/>
    <dgm:cxn modelId="{3D25F5F8-3AA9-4724-95D4-186792E511FA}" type="presParOf" srcId="{C1071C65-5699-4B99-AF0A-DF1CBE5AC109}" destId="{BC5FA69C-957A-4ED2-9D18-CA6AFD5D7E63}" srcOrd="1" destOrd="0" presId="urn:microsoft.com/office/officeart/2005/8/layout/process3"/>
    <dgm:cxn modelId="{22CEB070-3CBC-44D0-946B-A4CC80E04618}" type="presParOf" srcId="{C1071C65-5699-4B99-AF0A-DF1CBE5AC109}" destId="{1F826829-80F5-4E7C-A935-B6EC2254BC5F}" srcOrd="2" destOrd="0" presId="urn:microsoft.com/office/officeart/2005/8/layout/process3"/>
    <dgm:cxn modelId="{D60427B6-840A-4948-8C37-6DC60AED9C1B}" type="presParOf" srcId="{66FF4722-2E87-45FE-A4DC-1307F2444FE2}" destId="{46495FFD-67E5-49DB-8695-0086838DB528}" srcOrd="1" destOrd="0" presId="urn:microsoft.com/office/officeart/2005/8/layout/process3"/>
    <dgm:cxn modelId="{63EF0007-0F5F-4505-8ABD-0966139FB53A}" type="presParOf" srcId="{46495FFD-67E5-49DB-8695-0086838DB528}" destId="{4853E162-3814-413C-81A3-35032D567CE1}" srcOrd="0" destOrd="0" presId="urn:microsoft.com/office/officeart/2005/8/layout/process3"/>
    <dgm:cxn modelId="{E7C43B49-7C7D-4F6D-87BC-A9D7F84E4CC4}" type="presParOf" srcId="{66FF4722-2E87-45FE-A4DC-1307F2444FE2}" destId="{9BA34C9F-84FF-4FA8-92C5-75A4AF5B0922}" srcOrd="2" destOrd="0" presId="urn:microsoft.com/office/officeart/2005/8/layout/process3"/>
    <dgm:cxn modelId="{606D30E7-C490-4A94-8AE0-2064CD5FC041}" type="presParOf" srcId="{9BA34C9F-84FF-4FA8-92C5-75A4AF5B0922}" destId="{540E3CF2-905E-4B22-9520-940E5A57A6DC}" srcOrd="0" destOrd="0" presId="urn:microsoft.com/office/officeart/2005/8/layout/process3"/>
    <dgm:cxn modelId="{4B6D1A58-F6D5-4164-BEDB-FF93F428C55E}" type="presParOf" srcId="{9BA34C9F-84FF-4FA8-92C5-75A4AF5B0922}" destId="{F21B2089-93E9-442D-B98A-815252915AF3}" srcOrd="1" destOrd="0" presId="urn:microsoft.com/office/officeart/2005/8/layout/process3"/>
    <dgm:cxn modelId="{FDB0406A-F3BF-49DC-A394-6DFB8FBCE51B}" type="presParOf" srcId="{9BA34C9F-84FF-4FA8-92C5-75A4AF5B0922}" destId="{A778123B-267F-4E29-994E-EE6E090F92B0}" srcOrd="2" destOrd="0" presId="urn:microsoft.com/office/officeart/2005/8/layout/process3"/>
    <dgm:cxn modelId="{3D8D76C8-8F6E-406F-B4F2-DFE727F9769C}" type="presParOf" srcId="{66FF4722-2E87-45FE-A4DC-1307F2444FE2}" destId="{CE272817-8D19-46C8-9A85-14C054A63CCF}" srcOrd="3" destOrd="0" presId="urn:microsoft.com/office/officeart/2005/8/layout/process3"/>
    <dgm:cxn modelId="{C1650092-E464-47F8-A603-229A12C2266E}" type="presParOf" srcId="{CE272817-8D19-46C8-9A85-14C054A63CCF}" destId="{04C17A76-CB37-47E0-A1E1-BE92D8AF432C}" srcOrd="0" destOrd="0" presId="urn:microsoft.com/office/officeart/2005/8/layout/process3"/>
    <dgm:cxn modelId="{C71A67C6-826E-4C86-8178-E61AAE6F8554}" type="presParOf" srcId="{66FF4722-2E87-45FE-A4DC-1307F2444FE2}" destId="{F9E25492-FBB8-407C-8266-5DD5839004A5}" srcOrd="4" destOrd="0" presId="urn:microsoft.com/office/officeart/2005/8/layout/process3"/>
    <dgm:cxn modelId="{86D97C26-EA6A-4671-AB44-94B65CC54A68}" type="presParOf" srcId="{F9E25492-FBB8-407C-8266-5DD5839004A5}" destId="{090FC8D7-A6EB-4624-A599-BE38992B1106}" srcOrd="0" destOrd="0" presId="urn:microsoft.com/office/officeart/2005/8/layout/process3"/>
    <dgm:cxn modelId="{A645F74A-F7A6-44C9-AF91-8D0D3330D2E2}" type="presParOf" srcId="{F9E25492-FBB8-407C-8266-5DD5839004A5}" destId="{8918B2C1-CE88-4A63-B718-6AF1D934BABA}" srcOrd="1" destOrd="0" presId="urn:microsoft.com/office/officeart/2005/8/layout/process3"/>
    <dgm:cxn modelId="{7429FBAE-6F68-4119-9809-567176A8027C}" type="presParOf" srcId="{F9E25492-FBB8-407C-8266-5DD5839004A5}" destId="{1DA2BA85-39B3-4DC1-A024-79623177057C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1C122F4-3B25-4136-88E0-9EB0D348BB8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DF42457-CC5D-479A-841D-03A20F6E68D6}">
      <dgm:prSet custT="1"/>
      <dgm:spPr/>
      <dgm:t>
        <a:bodyPr/>
        <a:lstStyle/>
        <a:p>
          <a:r>
            <a:rPr lang="en-US" sz="1800" b="0" i="0" baseline="0" dirty="0"/>
            <a:t>Monitor folder for invoices (PDF documents)</a:t>
          </a:r>
          <a:endParaRPr lang="en-US" sz="1800" dirty="0"/>
        </a:p>
      </dgm:t>
    </dgm:pt>
    <dgm:pt modelId="{A42714BF-DA0D-4DF5-95AC-4F8BF598F186}" type="parTrans" cxnId="{66B38837-1DB7-45D5-83D0-20EC1377D0CB}">
      <dgm:prSet/>
      <dgm:spPr/>
      <dgm:t>
        <a:bodyPr/>
        <a:lstStyle/>
        <a:p>
          <a:endParaRPr lang="en-US"/>
        </a:p>
      </dgm:t>
    </dgm:pt>
    <dgm:pt modelId="{C4237A2E-2BDB-43EC-BB61-98BB4041E628}" type="sibTrans" cxnId="{66B38837-1DB7-45D5-83D0-20EC1377D0CB}">
      <dgm:prSet/>
      <dgm:spPr/>
      <dgm:t>
        <a:bodyPr/>
        <a:lstStyle/>
        <a:p>
          <a:endParaRPr lang="en-US"/>
        </a:p>
      </dgm:t>
    </dgm:pt>
    <dgm:pt modelId="{2789CFE1-E13E-4039-B062-FD7F0AEB22A6}">
      <dgm:prSet custT="1"/>
      <dgm:spPr/>
      <dgm:t>
        <a:bodyPr/>
        <a:lstStyle/>
        <a:p>
          <a:r>
            <a:rPr lang="en-US" sz="1800" b="0" i="0" baseline="0" dirty="0"/>
            <a:t>Extracting data from PDF documents</a:t>
          </a:r>
          <a:endParaRPr lang="en-US" sz="1800" dirty="0"/>
        </a:p>
      </dgm:t>
    </dgm:pt>
    <dgm:pt modelId="{676D693D-69C6-4CA4-B7DA-D9D1FD0A2D97}" type="parTrans" cxnId="{688371D6-7696-4134-B39A-0AB81CFB63DF}">
      <dgm:prSet/>
      <dgm:spPr/>
      <dgm:t>
        <a:bodyPr/>
        <a:lstStyle/>
        <a:p>
          <a:endParaRPr lang="en-US"/>
        </a:p>
      </dgm:t>
    </dgm:pt>
    <dgm:pt modelId="{3E45A560-62E0-4579-80B4-6882AB0417A5}" type="sibTrans" cxnId="{688371D6-7696-4134-B39A-0AB81CFB63DF}">
      <dgm:prSet/>
      <dgm:spPr/>
      <dgm:t>
        <a:bodyPr/>
        <a:lstStyle/>
        <a:p>
          <a:endParaRPr lang="en-US"/>
        </a:p>
      </dgm:t>
    </dgm:pt>
    <dgm:pt modelId="{90F1C3CE-0345-47AF-BEBD-3A57DB3BA2D2}">
      <dgm:prSet custT="1"/>
      <dgm:spPr/>
      <dgm:t>
        <a:bodyPr/>
        <a:lstStyle/>
        <a:p>
          <a:r>
            <a:rPr lang="en-US" sz="1800" b="0" dirty="0"/>
            <a:t>Filling details in SAP</a:t>
          </a:r>
          <a:endParaRPr lang="en-US" sz="1800" dirty="0"/>
        </a:p>
      </dgm:t>
    </dgm:pt>
    <dgm:pt modelId="{9419FE13-DBE2-448B-8F9E-2DF1A7416DCF}" type="parTrans" cxnId="{93B70B37-B9B3-4B67-88A0-76BA30D0E59A}">
      <dgm:prSet/>
      <dgm:spPr/>
      <dgm:t>
        <a:bodyPr/>
        <a:lstStyle/>
        <a:p>
          <a:endParaRPr lang="en-US"/>
        </a:p>
      </dgm:t>
    </dgm:pt>
    <dgm:pt modelId="{EECC8B12-DC2B-4F97-9133-489CF3D114FF}" type="sibTrans" cxnId="{93B70B37-B9B3-4B67-88A0-76BA30D0E59A}">
      <dgm:prSet/>
      <dgm:spPr/>
      <dgm:t>
        <a:bodyPr/>
        <a:lstStyle/>
        <a:p>
          <a:endParaRPr lang="en-US"/>
        </a:p>
      </dgm:t>
    </dgm:pt>
    <dgm:pt modelId="{D9042ABF-F134-481D-8972-D9F437DBB5EC}">
      <dgm:prSet custT="1"/>
      <dgm:spPr/>
      <dgm:t>
        <a:bodyPr/>
        <a:lstStyle/>
        <a:p>
          <a:r>
            <a:rPr lang="en-US" sz="1800" b="0" dirty="0"/>
            <a:t>Send email alerts (exceptions)</a:t>
          </a:r>
          <a:endParaRPr lang="en-US" sz="1800" dirty="0"/>
        </a:p>
      </dgm:t>
    </dgm:pt>
    <dgm:pt modelId="{2E6E4F0E-E561-4890-A8FB-10C86BF1059B}" type="parTrans" cxnId="{D9B16300-CDC1-4161-81EF-2BE2DC7949FF}">
      <dgm:prSet/>
      <dgm:spPr/>
      <dgm:t>
        <a:bodyPr/>
        <a:lstStyle/>
        <a:p>
          <a:endParaRPr lang="en-US"/>
        </a:p>
      </dgm:t>
    </dgm:pt>
    <dgm:pt modelId="{14A775C2-C61A-41EE-86B1-CD8622D25641}" type="sibTrans" cxnId="{D9B16300-CDC1-4161-81EF-2BE2DC7949FF}">
      <dgm:prSet/>
      <dgm:spPr/>
      <dgm:t>
        <a:bodyPr/>
        <a:lstStyle/>
        <a:p>
          <a:endParaRPr lang="en-US"/>
        </a:p>
      </dgm:t>
    </dgm:pt>
    <dgm:pt modelId="{F3430304-C224-43C6-89A5-114EA6ECC917}" type="pres">
      <dgm:prSet presAssocID="{61C122F4-3B25-4136-88E0-9EB0D348BB8D}" presName="linear" presStyleCnt="0">
        <dgm:presLayoutVars>
          <dgm:animLvl val="lvl"/>
          <dgm:resizeHandles val="exact"/>
        </dgm:presLayoutVars>
      </dgm:prSet>
      <dgm:spPr/>
    </dgm:pt>
    <dgm:pt modelId="{1159AC73-7731-4070-B062-4EE1146A3299}" type="pres">
      <dgm:prSet presAssocID="{2DF42457-CC5D-479A-841D-03A20F6E68D6}" presName="parentText" presStyleLbl="node1" presStyleIdx="0" presStyleCnt="4" custScaleX="73575">
        <dgm:presLayoutVars>
          <dgm:chMax val="0"/>
          <dgm:bulletEnabled val="1"/>
        </dgm:presLayoutVars>
      </dgm:prSet>
      <dgm:spPr/>
    </dgm:pt>
    <dgm:pt modelId="{445C0FB8-6B9A-4480-8CCD-F89546E7A72B}" type="pres">
      <dgm:prSet presAssocID="{C4237A2E-2BDB-43EC-BB61-98BB4041E628}" presName="spacer" presStyleCnt="0"/>
      <dgm:spPr/>
    </dgm:pt>
    <dgm:pt modelId="{2EC71342-B158-48B6-BB19-76B75CDD54FC}" type="pres">
      <dgm:prSet presAssocID="{2789CFE1-E13E-4039-B062-FD7F0AEB22A6}" presName="parentText" presStyleLbl="node1" presStyleIdx="1" presStyleCnt="4" custScaleX="71503">
        <dgm:presLayoutVars>
          <dgm:chMax val="0"/>
          <dgm:bulletEnabled val="1"/>
        </dgm:presLayoutVars>
      </dgm:prSet>
      <dgm:spPr/>
    </dgm:pt>
    <dgm:pt modelId="{0A705C8F-07A9-4765-B306-1D52225B195A}" type="pres">
      <dgm:prSet presAssocID="{3E45A560-62E0-4579-80B4-6882AB0417A5}" presName="spacer" presStyleCnt="0"/>
      <dgm:spPr/>
    </dgm:pt>
    <dgm:pt modelId="{BEAEA119-6931-4E9C-9BF6-52903DA5513A}" type="pres">
      <dgm:prSet presAssocID="{90F1C3CE-0345-47AF-BEBD-3A57DB3BA2D2}" presName="parentText" presStyleLbl="node1" presStyleIdx="2" presStyleCnt="4" custScaleX="72539">
        <dgm:presLayoutVars>
          <dgm:chMax val="0"/>
          <dgm:bulletEnabled val="1"/>
        </dgm:presLayoutVars>
      </dgm:prSet>
      <dgm:spPr/>
    </dgm:pt>
    <dgm:pt modelId="{B666E8A3-CF6F-441D-B9C6-6DB913F16928}" type="pres">
      <dgm:prSet presAssocID="{EECC8B12-DC2B-4F97-9133-489CF3D114FF}" presName="spacer" presStyleCnt="0"/>
      <dgm:spPr/>
    </dgm:pt>
    <dgm:pt modelId="{62FBCD81-3A93-4DC2-A8DD-AA2B53D0B18D}" type="pres">
      <dgm:prSet presAssocID="{D9042ABF-F134-481D-8972-D9F437DBB5EC}" presName="parentText" presStyleLbl="node1" presStyleIdx="3" presStyleCnt="4" custScaleX="69430">
        <dgm:presLayoutVars>
          <dgm:chMax val="0"/>
          <dgm:bulletEnabled val="1"/>
        </dgm:presLayoutVars>
      </dgm:prSet>
      <dgm:spPr/>
    </dgm:pt>
  </dgm:ptLst>
  <dgm:cxnLst>
    <dgm:cxn modelId="{D9B16300-CDC1-4161-81EF-2BE2DC7949FF}" srcId="{61C122F4-3B25-4136-88E0-9EB0D348BB8D}" destId="{D9042ABF-F134-481D-8972-D9F437DBB5EC}" srcOrd="3" destOrd="0" parTransId="{2E6E4F0E-E561-4890-A8FB-10C86BF1059B}" sibTransId="{14A775C2-C61A-41EE-86B1-CD8622D25641}"/>
    <dgm:cxn modelId="{F2086001-2E28-4E79-ADB8-F0C4750E58A7}" type="presOf" srcId="{61C122F4-3B25-4136-88E0-9EB0D348BB8D}" destId="{F3430304-C224-43C6-89A5-114EA6ECC917}" srcOrd="0" destOrd="0" presId="urn:microsoft.com/office/officeart/2005/8/layout/vList2"/>
    <dgm:cxn modelId="{DF197C08-4D42-47F0-ACA8-833FFF685932}" type="presOf" srcId="{2789CFE1-E13E-4039-B062-FD7F0AEB22A6}" destId="{2EC71342-B158-48B6-BB19-76B75CDD54FC}" srcOrd="0" destOrd="0" presId="urn:microsoft.com/office/officeart/2005/8/layout/vList2"/>
    <dgm:cxn modelId="{384EF00A-865B-4BA8-8034-F41E793B5E27}" type="presOf" srcId="{90F1C3CE-0345-47AF-BEBD-3A57DB3BA2D2}" destId="{BEAEA119-6931-4E9C-9BF6-52903DA5513A}" srcOrd="0" destOrd="0" presId="urn:microsoft.com/office/officeart/2005/8/layout/vList2"/>
    <dgm:cxn modelId="{93B70B37-B9B3-4B67-88A0-76BA30D0E59A}" srcId="{61C122F4-3B25-4136-88E0-9EB0D348BB8D}" destId="{90F1C3CE-0345-47AF-BEBD-3A57DB3BA2D2}" srcOrd="2" destOrd="0" parTransId="{9419FE13-DBE2-448B-8F9E-2DF1A7416DCF}" sibTransId="{EECC8B12-DC2B-4F97-9133-489CF3D114FF}"/>
    <dgm:cxn modelId="{66B38837-1DB7-45D5-83D0-20EC1377D0CB}" srcId="{61C122F4-3B25-4136-88E0-9EB0D348BB8D}" destId="{2DF42457-CC5D-479A-841D-03A20F6E68D6}" srcOrd="0" destOrd="0" parTransId="{A42714BF-DA0D-4DF5-95AC-4F8BF598F186}" sibTransId="{C4237A2E-2BDB-43EC-BB61-98BB4041E628}"/>
    <dgm:cxn modelId="{FAA3E138-A2D4-4EC0-9676-A6E8300B3AE2}" type="presOf" srcId="{2DF42457-CC5D-479A-841D-03A20F6E68D6}" destId="{1159AC73-7731-4070-B062-4EE1146A3299}" srcOrd="0" destOrd="0" presId="urn:microsoft.com/office/officeart/2005/8/layout/vList2"/>
    <dgm:cxn modelId="{DD4DE8B3-224F-42AD-A6F4-F8064FFD0B91}" type="presOf" srcId="{D9042ABF-F134-481D-8972-D9F437DBB5EC}" destId="{62FBCD81-3A93-4DC2-A8DD-AA2B53D0B18D}" srcOrd="0" destOrd="0" presId="urn:microsoft.com/office/officeart/2005/8/layout/vList2"/>
    <dgm:cxn modelId="{688371D6-7696-4134-B39A-0AB81CFB63DF}" srcId="{61C122F4-3B25-4136-88E0-9EB0D348BB8D}" destId="{2789CFE1-E13E-4039-B062-FD7F0AEB22A6}" srcOrd="1" destOrd="0" parTransId="{676D693D-69C6-4CA4-B7DA-D9D1FD0A2D97}" sibTransId="{3E45A560-62E0-4579-80B4-6882AB0417A5}"/>
    <dgm:cxn modelId="{B871C2CB-D43D-4CE7-A537-43EC0CD990EB}" type="presParOf" srcId="{F3430304-C224-43C6-89A5-114EA6ECC917}" destId="{1159AC73-7731-4070-B062-4EE1146A3299}" srcOrd="0" destOrd="0" presId="urn:microsoft.com/office/officeart/2005/8/layout/vList2"/>
    <dgm:cxn modelId="{D849D616-7D86-41C2-B249-3C0371850E04}" type="presParOf" srcId="{F3430304-C224-43C6-89A5-114EA6ECC917}" destId="{445C0FB8-6B9A-4480-8CCD-F89546E7A72B}" srcOrd="1" destOrd="0" presId="urn:microsoft.com/office/officeart/2005/8/layout/vList2"/>
    <dgm:cxn modelId="{91B67973-EE97-4499-A579-B38E9696C567}" type="presParOf" srcId="{F3430304-C224-43C6-89A5-114EA6ECC917}" destId="{2EC71342-B158-48B6-BB19-76B75CDD54FC}" srcOrd="2" destOrd="0" presId="urn:microsoft.com/office/officeart/2005/8/layout/vList2"/>
    <dgm:cxn modelId="{C1BCB93C-2107-4DF4-8BE4-D6F940DF6F16}" type="presParOf" srcId="{F3430304-C224-43C6-89A5-114EA6ECC917}" destId="{0A705C8F-07A9-4765-B306-1D52225B195A}" srcOrd="3" destOrd="0" presId="urn:microsoft.com/office/officeart/2005/8/layout/vList2"/>
    <dgm:cxn modelId="{65D37D05-BC81-4DBF-B97D-8EB5CEC4F233}" type="presParOf" srcId="{F3430304-C224-43C6-89A5-114EA6ECC917}" destId="{BEAEA119-6931-4E9C-9BF6-52903DA5513A}" srcOrd="4" destOrd="0" presId="urn:microsoft.com/office/officeart/2005/8/layout/vList2"/>
    <dgm:cxn modelId="{F4196AA9-F721-4E7E-B533-140F93AF4911}" type="presParOf" srcId="{F3430304-C224-43C6-89A5-114EA6ECC917}" destId="{B666E8A3-CF6F-441D-B9C6-6DB913F16928}" srcOrd="5" destOrd="0" presId="urn:microsoft.com/office/officeart/2005/8/layout/vList2"/>
    <dgm:cxn modelId="{AF1FF50D-453E-4798-8EF1-0C3322D6C4B8}" type="presParOf" srcId="{F3430304-C224-43C6-89A5-114EA6ECC917}" destId="{62FBCD81-3A93-4DC2-A8DD-AA2B53D0B18D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5FA69C-957A-4ED2-9D18-CA6AFD5D7E63}">
      <dsp:nvSpPr>
        <dsp:cNvPr id="0" name=""/>
        <dsp:cNvSpPr/>
      </dsp:nvSpPr>
      <dsp:spPr>
        <a:xfrm>
          <a:off x="4792" y="1145936"/>
          <a:ext cx="2179138" cy="128786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163576" rIns="163576" bIns="87630" numCol="1" spcCol="1270" anchor="t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RPA Champion</a:t>
          </a:r>
          <a:endParaRPr lang="en-SG" sz="2300" kern="1200" dirty="0"/>
        </a:p>
      </dsp:txBody>
      <dsp:txXfrm>
        <a:off x="4792" y="1145936"/>
        <a:ext cx="2179138" cy="858576"/>
      </dsp:txXfrm>
    </dsp:sp>
    <dsp:sp modelId="{1F826829-80F5-4E7C-A935-B6EC2254BC5F}">
      <dsp:nvSpPr>
        <dsp:cNvPr id="0" name=""/>
        <dsp:cNvSpPr/>
      </dsp:nvSpPr>
      <dsp:spPr>
        <a:xfrm>
          <a:off x="451122" y="2004513"/>
          <a:ext cx="2179138" cy="18216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63576" rIns="163576" bIns="163576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b="1" kern="1200" dirty="0"/>
            <a:t>Ideation</a:t>
          </a:r>
          <a:endParaRPr lang="en-SG" sz="2300" b="1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SG" sz="2300" b="1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/>
            <a:t>Checklist</a:t>
          </a:r>
          <a:endParaRPr lang="en-SG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SG" sz="2300" kern="1200" dirty="0"/>
        </a:p>
      </dsp:txBody>
      <dsp:txXfrm>
        <a:off x="504475" y="2057866"/>
        <a:ext cx="2072432" cy="1714894"/>
      </dsp:txXfrm>
    </dsp:sp>
    <dsp:sp modelId="{46495FFD-67E5-49DB-8695-0086838DB528}">
      <dsp:nvSpPr>
        <dsp:cNvPr id="0" name=""/>
        <dsp:cNvSpPr/>
      </dsp:nvSpPr>
      <dsp:spPr>
        <a:xfrm>
          <a:off x="2514280" y="1303953"/>
          <a:ext cx="700340" cy="54254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SG" sz="1800" kern="1200"/>
        </a:p>
      </dsp:txBody>
      <dsp:txXfrm>
        <a:off x="2514280" y="1412461"/>
        <a:ext cx="537577" cy="325526"/>
      </dsp:txXfrm>
    </dsp:sp>
    <dsp:sp modelId="{F21B2089-93E9-442D-B98A-815252915AF3}">
      <dsp:nvSpPr>
        <dsp:cNvPr id="0" name=""/>
        <dsp:cNvSpPr/>
      </dsp:nvSpPr>
      <dsp:spPr>
        <a:xfrm>
          <a:off x="3505329" y="1145936"/>
          <a:ext cx="2179138" cy="128786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163576" rIns="163576" bIns="87630" numCol="1" spcCol="1270" anchor="t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Functional Lead</a:t>
          </a:r>
          <a:endParaRPr lang="en-SG" sz="2300" kern="1200" dirty="0"/>
        </a:p>
      </dsp:txBody>
      <dsp:txXfrm>
        <a:off x="3505329" y="1145936"/>
        <a:ext cx="2179138" cy="858576"/>
      </dsp:txXfrm>
    </dsp:sp>
    <dsp:sp modelId="{A778123B-267F-4E29-994E-EE6E090F92B0}">
      <dsp:nvSpPr>
        <dsp:cNvPr id="0" name=""/>
        <dsp:cNvSpPr/>
      </dsp:nvSpPr>
      <dsp:spPr>
        <a:xfrm>
          <a:off x="3951658" y="2004513"/>
          <a:ext cx="2179138" cy="18216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63576" rIns="163576" bIns="163576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/>
            <a:t>Review</a:t>
          </a:r>
          <a:endParaRPr lang="en-SG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/>
            <a:t>Approve</a:t>
          </a:r>
          <a:endParaRPr lang="en-SG" sz="2300" kern="1200" dirty="0"/>
        </a:p>
      </dsp:txBody>
      <dsp:txXfrm>
        <a:off x="4005011" y="2057866"/>
        <a:ext cx="2072432" cy="1714894"/>
      </dsp:txXfrm>
    </dsp:sp>
    <dsp:sp modelId="{CE272817-8D19-46C8-9A85-14C054A63CCF}">
      <dsp:nvSpPr>
        <dsp:cNvPr id="0" name=""/>
        <dsp:cNvSpPr/>
      </dsp:nvSpPr>
      <dsp:spPr>
        <a:xfrm>
          <a:off x="6014816" y="1303953"/>
          <a:ext cx="700340" cy="54254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SG" sz="1800" kern="1200"/>
        </a:p>
      </dsp:txBody>
      <dsp:txXfrm>
        <a:off x="6014816" y="1412461"/>
        <a:ext cx="537577" cy="325526"/>
      </dsp:txXfrm>
    </dsp:sp>
    <dsp:sp modelId="{8918B2C1-CE88-4A63-B718-6AF1D934BABA}">
      <dsp:nvSpPr>
        <dsp:cNvPr id="0" name=""/>
        <dsp:cNvSpPr/>
      </dsp:nvSpPr>
      <dsp:spPr>
        <a:xfrm>
          <a:off x="7005865" y="1145936"/>
          <a:ext cx="2179138" cy="128786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RPA COE / RPA Citizen</a:t>
          </a:r>
          <a:endParaRPr lang="en-SG" sz="2000" kern="1200" dirty="0"/>
        </a:p>
      </dsp:txBody>
      <dsp:txXfrm>
        <a:off x="7005865" y="1145936"/>
        <a:ext cx="2179138" cy="858576"/>
      </dsp:txXfrm>
    </dsp:sp>
    <dsp:sp modelId="{1DA2BA85-39B3-4DC1-A024-79623177057C}">
      <dsp:nvSpPr>
        <dsp:cNvPr id="0" name=""/>
        <dsp:cNvSpPr/>
      </dsp:nvSpPr>
      <dsp:spPr>
        <a:xfrm>
          <a:off x="7452194" y="2004513"/>
          <a:ext cx="2179138" cy="18216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63576" rIns="163576" bIns="163576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/>
            <a:t>Assess</a:t>
          </a:r>
          <a:endParaRPr lang="en-SG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/>
            <a:t>Design</a:t>
          </a:r>
          <a:endParaRPr lang="en-SG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/>
            <a:t>Code</a:t>
          </a:r>
          <a:endParaRPr lang="en-SG" sz="2300" kern="1200" dirty="0"/>
        </a:p>
      </dsp:txBody>
      <dsp:txXfrm>
        <a:off x="7505547" y="2057866"/>
        <a:ext cx="2072432" cy="171489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59AC73-7731-4070-B062-4EE1146A3299}">
      <dsp:nvSpPr>
        <dsp:cNvPr id="0" name=""/>
        <dsp:cNvSpPr/>
      </dsp:nvSpPr>
      <dsp:spPr>
        <a:xfrm>
          <a:off x="485777" y="27256"/>
          <a:ext cx="2705095" cy="10108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i="0" kern="1200" baseline="0" dirty="0"/>
            <a:t>Monitor folder for invoices (PDF documents)</a:t>
          </a:r>
          <a:endParaRPr lang="en-US" sz="1800" kern="1200" dirty="0"/>
        </a:p>
      </dsp:txBody>
      <dsp:txXfrm>
        <a:off x="535124" y="76603"/>
        <a:ext cx="2606401" cy="912186"/>
      </dsp:txXfrm>
    </dsp:sp>
    <dsp:sp modelId="{2EC71342-B158-48B6-BB19-76B75CDD54FC}">
      <dsp:nvSpPr>
        <dsp:cNvPr id="0" name=""/>
        <dsp:cNvSpPr/>
      </dsp:nvSpPr>
      <dsp:spPr>
        <a:xfrm>
          <a:off x="523867" y="1193657"/>
          <a:ext cx="2628915" cy="10108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i="0" kern="1200" baseline="0" dirty="0"/>
            <a:t>Extracting data from PDF documents</a:t>
          </a:r>
          <a:endParaRPr lang="en-US" sz="1800" kern="1200" dirty="0"/>
        </a:p>
      </dsp:txBody>
      <dsp:txXfrm>
        <a:off x="573214" y="1243004"/>
        <a:ext cx="2530221" cy="912186"/>
      </dsp:txXfrm>
    </dsp:sp>
    <dsp:sp modelId="{BEAEA119-6931-4E9C-9BF6-52903DA5513A}">
      <dsp:nvSpPr>
        <dsp:cNvPr id="0" name=""/>
        <dsp:cNvSpPr/>
      </dsp:nvSpPr>
      <dsp:spPr>
        <a:xfrm>
          <a:off x="504822" y="2360057"/>
          <a:ext cx="2667005" cy="10108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 dirty="0"/>
            <a:t>Filling details in SAP</a:t>
          </a:r>
          <a:endParaRPr lang="en-US" sz="1800" kern="1200" dirty="0"/>
        </a:p>
      </dsp:txBody>
      <dsp:txXfrm>
        <a:off x="554169" y="2409404"/>
        <a:ext cx="2568311" cy="912186"/>
      </dsp:txXfrm>
    </dsp:sp>
    <dsp:sp modelId="{62FBCD81-3A93-4DC2-A8DD-AA2B53D0B18D}">
      <dsp:nvSpPr>
        <dsp:cNvPr id="0" name=""/>
        <dsp:cNvSpPr/>
      </dsp:nvSpPr>
      <dsp:spPr>
        <a:xfrm>
          <a:off x="561975" y="3526457"/>
          <a:ext cx="2552698" cy="10108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 dirty="0"/>
            <a:t>Send email alerts (exceptions)</a:t>
          </a:r>
          <a:endParaRPr lang="en-US" sz="1800" kern="1200" dirty="0"/>
        </a:p>
      </dsp:txBody>
      <dsp:txXfrm>
        <a:off x="611322" y="3575804"/>
        <a:ext cx="2454004" cy="91218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9377E9-74C1-4F65-A673-AD8856E19342}" type="datetimeFigureOut">
              <a:rPr lang="en-SG" smtClean="0"/>
              <a:t>23/2/2022</a:t>
            </a:fld>
            <a:endParaRPr lang="en-SG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SG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6DC5C6-4CD1-4C83-82A8-E145ED28D67B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9435105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4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6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6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8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9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0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2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4.xml"/></Relationships>
</file>

<file path=ppt/notesSlides/_rels/notesSlide18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6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8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9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6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8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slide" Target="../slides/slide9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0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0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+mn-lt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815945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mgen Proprietary -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7E1A74-1C93-493F-870F-60771389AC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08318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Excel spreadsheet has 11,777 rows of PO data</a:t>
            </a:r>
          </a:p>
          <a:p>
            <a:r>
              <a:rPr lang="en-US" dirty="0"/>
              <a:t>Budget Owners – Engineering, Electrical, Facilities, F&amp;E, Mechanical, Instrumentat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mgen Proprietary -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7E1A74-1C93-493F-870F-60771389AC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20390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DF documents saved into folder</a:t>
            </a:r>
          </a:p>
          <a:p>
            <a:r>
              <a:rPr lang="en-US" dirty="0"/>
              <a:t>RPA extracts key structured data from fixed positions in PDF documents</a:t>
            </a:r>
          </a:p>
          <a:p>
            <a:r>
              <a:rPr lang="en-US" dirty="0"/>
              <a:t>RPA updates key data to Excel spreadsheet (cycle could be repeated)</a:t>
            </a:r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6DC5C6-4CD1-4C83-82A8-E145ED28D67B}" type="slidenum">
              <a:rPr lang="en-SG" smtClean="0"/>
              <a:t>15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914132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andling of exceptions: RPA – human interact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mgen Proprietary -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7E1A74-1C93-493F-870F-60771389AC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29321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mgen Proprietary -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7E1A74-1C93-493F-870F-60771389AC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06411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mgen Proprietary -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7E1A74-1C93-493F-870F-60771389AC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23862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arn – what RPA can / cannot do</a:t>
            </a:r>
          </a:p>
          <a:p>
            <a:r>
              <a:rPr lang="en-US" dirty="0"/>
              <a:t>Identify / Ideation – potential RPA opportunities in daily business processes</a:t>
            </a:r>
          </a:p>
          <a:p>
            <a:endParaRPr lang="en-US" dirty="0"/>
          </a:p>
          <a:p>
            <a:r>
              <a:rPr lang="en-US" dirty="0"/>
              <a:t>Selection – simple selection criteria (RPA checklist, scoring system)</a:t>
            </a:r>
          </a:p>
          <a:p>
            <a:r>
              <a:rPr lang="en-US" dirty="0"/>
              <a:t>Pilot – initial use case</a:t>
            </a:r>
          </a:p>
          <a:p>
            <a:endParaRPr lang="en-US" dirty="0"/>
          </a:p>
          <a:p>
            <a:r>
              <a:rPr lang="en-US" dirty="0"/>
              <a:t>Measure &amp; Expand</a:t>
            </a:r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6DC5C6-4CD1-4C83-82A8-E145ED28D67B}" type="slidenum">
              <a:rPr lang="en-SG" smtClean="0"/>
              <a:t>22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2168865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mgen Proprietary -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7E1A74-1C93-493F-870F-60771389AC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999102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mgen Proprietary -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7E1A74-1C93-493F-870F-60771389AC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70398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317500"/>
            <a:ext cx="6432550" cy="3619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BC732A-A5AA-4B42-BB2D-0A6F19F29EF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2580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317500"/>
            <a:ext cx="6432550" cy="3619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Resource intensive: automate manual, repeated cycles. Reduce manual effort</a:t>
            </a:r>
          </a:p>
          <a:p>
            <a:r>
              <a:rPr lang="en-US" baseline="0" dirty="0"/>
              <a:t>Processes that are well- defined, rule-based suitable for RP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74083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mgen Proprietary -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7E1A74-1C93-493F-870F-60771389AC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05082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PA Champion &amp; Functional Lead could be different / same person</a:t>
            </a:r>
          </a:p>
          <a:p>
            <a:r>
              <a:rPr lang="en-US" dirty="0"/>
              <a:t>Key takeaway: </a:t>
            </a:r>
            <a:r>
              <a:rPr lang="en-US" b="1" dirty="0"/>
              <a:t>Ideation and growing the RPA pipeline</a:t>
            </a:r>
          </a:p>
          <a:p>
            <a:endParaRPr lang="en-SG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6DC5C6-4CD1-4C83-82A8-E145ED28D67B}" type="slidenum">
              <a:rPr lang="en-SG" smtClean="0"/>
              <a:t>4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2532999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G" dirty="0"/>
              <a:t>Key attributes of suitable RPA ideas (projects)</a:t>
            </a:r>
          </a:p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6DC5C6-4CD1-4C83-82A8-E145ED28D67B}" type="slidenum">
              <a:rPr lang="en-SG" smtClean="0"/>
              <a:t>5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9518888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hecklist </a:t>
            </a:r>
          </a:p>
          <a:p>
            <a:r>
              <a:rPr lang="en-US" dirty="0"/>
              <a:t>Downloaded from </a:t>
            </a:r>
            <a:r>
              <a:rPr lang="en-US" dirty="0" err="1"/>
              <a:t>Sharepoint</a:t>
            </a:r>
            <a:r>
              <a:rPr lang="en-US" dirty="0"/>
              <a:t>, Smartsheet, Excel. Structured data, Excel, PDF format</a:t>
            </a:r>
          </a:p>
          <a:p>
            <a:r>
              <a:rPr lang="en-US" dirty="0"/>
              <a:t>Well-defined business logic &amp; rule-based</a:t>
            </a:r>
          </a:p>
          <a:p>
            <a:r>
              <a:rPr lang="en-US" dirty="0"/>
              <a:t>Repeated cycles (example: copy &amp; paste, transferring data to templates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mgen Proprietary -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7E1A74-1C93-493F-870F-60771389AC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21782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 FTE x 2 hours = 4 hours / day. 4 hours x 2 days = 8 hours / week</a:t>
            </a:r>
          </a:p>
          <a:p>
            <a:r>
              <a:rPr lang="en-US" dirty="0"/>
              <a:t>Smartsheet to be shared with users, update RPA ideas and proposals</a:t>
            </a:r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6DC5C6-4CD1-4C83-82A8-E145ED28D67B}" type="slidenum">
              <a:rPr lang="en-SG" smtClean="0"/>
              <a:t>7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6857385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PA process prioritization done by RPA COE</a:t>
            </a:r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6DC5C6-4CD1-4C83-82A8-E145ED28D67B}" type="slidenum">
              <a:rPr lang="en-SG" smtClean="0"/>
              <a:t>8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3820215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mgen Proprietary -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7E1A74-1C93-493F-870F-60771389AC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30129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mgen Proprietary -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7E1A74-1C93-493F-870F-60771389AC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5531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01D62B-942C-4CED-A0C2-9167EC4E26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6E7C38B-F44E-4918-8F29-18F1AC6209B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98D10E-ED5E-43B5-BF43-14B252C605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ECF27-5B15-452C-913D-AEAC3B17AB5B}" type="datetimeFigureOut">
              <a:rPr lang="en-SG" smtClean="0"/>
              <a:t>23/2/2022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DADA61-C11A-4ABC-931A-C53DB5C20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22977D-C813-4125-8214-0D6A181E1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A2F90-3EC6-4909-A0D7-4206B66F09F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1001721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B9EC4E-B580-4133-96EB-B647089B6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FE72342-39FA-4C97-9342-75352A445B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847E56-D745-4470-AEDA-7169E60987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ECF27-5B15-452C-913D-AEAC3B17AB5B}" type="datetimeFigureOut">
              <a:rPr lang="en-SG" smtClean="0"/>
              <a:t>23/2/2022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CD762-C9EC-4EC2-AC71-5ECC071EFE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26B425-CA4C-4589-80AC-7391B7D7D8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A2F90-3EC6-4909-A0D7-4206B66F09F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4264324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2508472-B664-46E1-BAA5-EEB494DBB8E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FD82345-644F-4F56-86FC-3503CBB9C2C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33BDD7-5D91-4E2D-93E1-2BEA094B70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ECF27-5B15-452C-913D-AEAC3B17AB5B}" type="datetimeFigureOut">
              <a:rPr lang="en-SG" smtClean="0"/>
              <a:t>23/2/2022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260DBC-EACE-43AD-A266-ACCA7F1E32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6EBDD9-B9A2-4633-A077-378823911B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A2F90-3EC6-4909-A0D7-4206B66F09F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1213688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1"/>
            <a:ext cx="9348787" cy="4633911"/>
          </a:xfrm>
          <a:prstGeom prst="rect">
            <a:avLst/>
          </a:prstGeom>
        </p:spPr>
        <p:txBody>
          <a:bodyPr/>
          <a:lstStyle>
            <a:lvl1pPr>
              <a:tabLst>
                <a:tab pos="8972102" algn="r"/>
              </a:tabLst>
              <a:defRPr/>
            </a:lvl1pPr>
            <a:lvl2pPr>
              <a:tabLst>
                <a:tab pos="8972102" algn="r"/>
              </a:tabLst>
              <a:defRPr/>
            </a:lvl2pPr>
            <a:lvl3pPr>
              <a:tabLst>
                <a:tab pos="8972102" algn="r"/>
              </a:tabLst>
              <a:defRPr/>
            </a:lvl3pPr>
            <a:lvl4pPr>
              <a:tabLst>
                <a:tab pos="8972102" algn="r"/>
              </a:tabLst>
              <a:defRPr/>
            </a:lvl4pPr>
            <a:lvl5pPr>
              <a:tabLst>
                <a:tab pos="6705264" algn="r"/>
              </a:tabLst>
              <a:defRPr baseline="0"/>
            </a:lvl5pPr>
            <a:lvl6pPr>
              <a:tabLst>
                <a:tab pos="8972102" algn="r"/>
              </a:tabLst>
              <a:defRPr/>
            </a:lvl6pPr>
            <a:lvl7pPr>
              <a:tabLst>
                <a:tab pos="8972102" algn="r"/>
              </a:tabLst>
              <a:defRPr/>
            </a:lvl7pPr>
            <a:lvl8pPr>
              <a:tabLst>
                <a:tab pos="8972102" algn="r"/>
              </a:tabLst>
              <a:defRPr/>
            </a:lvl8pPr>
            <a:lvl9pPr>
              <a:tabLst>
                <a:tab pos="8972102" algn="r"/>
              </a:tabLs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6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752657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. Green one third">
    <p:bg>
      <p:bgPr>
        <a:gradFill flip="none" rotWithShape="1">
          <a:gsLst>
            <a:gs pos="0">
              <a:srgbClr val="0063C3"/>
            </a:gs>
            <a:gs pos="100000">
              <a:schemeClr val="accent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85233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cap="all" baseline="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latin typeface="+mn-lt"/>
                <a:cs typeface="+mn-cs"/>
                <a:sym typeface="+mn-lt"/>
              </a:rPr>
              <a:t>MLT Feb 7th Pre-Read document.pptx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9564" y="6584083"/>
            <a:ext cx="817857" cy="200375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8532733" y="6517656"/>
            <a:ext cx="2310938" cy="27559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 defTabSz="582031">
              <a:defRPr/>
            </a:pPr>
            <a:r>
              <a:rPr lang="en-US" sz="700" b="1">
                <a:solidFill>
                  <a:srgbClr val="716F73"/>
                </a:solidFill>
              </a:rPr>
              <a:t>Amgen Proprietary—For Internal Use Only</a:t>
            </a:r>
          </a:p>
        </p:txBody>
      </p:sp>
      <p:sp>
        <p:nvSpPr>
          <p:cNvPr id="15" name="Rectangle 14"/>
          <p:cNvSpPr>
            <a:spLocks noGrp="1" noChangeArrowheads="1"/>
          </p:cNvSpPr>
          <p:nvPr/>
        </p:nvSpPr>
        <p:spPr bwMode="gray">
          <a:xfrm>
            <a:off x="5368522" y="6449831"/>
            <a:ext cx="832104" cy="2738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82031">
              <a:defRPr/>
            </a:pPr>
            <a:fld id="{5909AF01-7EFE-4A29-B021-8BA707099C41}" type="slidenum">
              <a:rPr lang="en-US" sz="700">
                <a:solidFill>
                  <a:srgbClr val="716F73"/>
                </a:solidFill>
                <a:latin typeface="Arial"/>
              </a:rPr>
              <a:pPr defTabSz="582031">
                <a:defRPr/>
              </a:pPr>
              <a:t>‹#›</a:t>
            </a:fld>
            <a:endParaRPr lang="en-US" sz="700">
              <a:solidFill>
                <a:srgbClr val="716F73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23345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50" b="6250"/>
          <a:stretch>
            <a:fillRect/>
          </a:stretch>
        </p:blipFill>
        <p:spPr>
          <a:xfrm>
            <a:off x="0" y="0"/>
            <a:ext cx="12192000" cy="5334000"/>
          </a:xfrm>
          <a:prstGeom prst="rect">
            <a:avLst/>
          </a:prstGeom>
        </p:spPr>
      </p:pic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5334000"/>
          </a:xfrm>
          <a:noFill/>
        </p:spPr>
        <p:txBody>
          <a:bodyPr l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0239" y="6128298"/>
            <a:ext cx="1713236" cy="406281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1" y="5947240"/>
            <a:ext cx="9932459" cy="393141"/>
          </a:xfrm>
        </p:spPr>
        <p:txBody>
          <a:bodyPr t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667" b="0" cap="all" spc="0" baseline="0">
                <a:solidFill>
                  <a:schemeClr val="accent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62001" y="5469637"/>
            <a:ext cx="9932459" cy="461699"/>
          </a:xfrm>
        </p:spPr>
        <p:txBody>
          <a:bodyPr rIns="0" anchor="ctr"/>
          <a:lstStyle>
            <a:lvl1pPr marL="0" indent="0" algn="l">
              <a:buNone/>
              <a:defRPr sz="3200" b="1" cap="all" spc="0" baseline="0">
                <a:solidFill>
                  <a:schemeClr val="accent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4" y="2324100"/>
            <a:ext cx="9921913" cy="685800"/>
          </a:xfrm>
          <a:prstGeom prst="rect">
            <a:avLst/>
          </a:prstGeom>
        </p:spPr>
        <p:txBody>
          <a:bodyPr vert="horz" lIns="0" tIns="0" rIns="0" bIns="0" anchor="ctr">
            <a:noAutofit/>
          </a:bodyPr>
          <a:lstStyle>
            <a:lvl1pPr algn="l">
              <a:defRPr sz="4800" b="1" spc="0" baseline="0">
                <a:solidFill>
                  <a:schemeClr val="bg1"/>
                </a:solidFill>
                <a:effectLst/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706147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5811520"/>
            <a:ext cx="12192000" cy="1046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6022">
              <a:defRPr/>
            </a:pPr>
            <a:endParaRPr lang="en-US" sz="695">
              <a:solidFill>
                <a:srgbClr val="FFFFF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0239" y="6128298"/>
            <a:ext cx="1713236" cy="40628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4" y="2396404"/>
            <a:ext cx="9921913" cy="685800"/>
          </a:xfrm>
          <a:prstGeom prst="rect">
            <a:avLst/>
          </a:prstGeom>
        </p:spPr>
        <p:txBody>
          <a:bodyPr vert="horz" lIns="0" tIns="0" rIns="0" bIns="0" anchor="ctr">
            <a:noAutofit/>
          </a:bodyPr>
          <a:lstStyle>
            <a:lvl1pPr algn="l">
              <a:defRPr sz="4800" b="1" spc="0" baseline="0">
                <a:solidFill>
                  <a:schemeClr val="accent1"/>
                </a:solidFill>
                <a:effectLst/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1621406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343610"/>
            <a:ext cx="12192000" cy="47288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6022">
              <a:defRPr/>
            </a:pPr>
            <a:endParaRPr lang="en-US" sz="695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06304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343609"/>
            <a:ext cx="12192000" cy="47354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6022">
              <a:defRPr/>
            </a:pPr>
            <a:endParaRPr lang="en-US" sz="695">
              <a:solidFill>
                <a:srgbClr val="FFFFFF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4717" y="617711"/>
            <a:ext cx="11222376" cy="625877"/>
          </a:xfrm>
        </p:spPr>
        <p:txBody>
          <a:bodyPr wrap="square" anchor="b">
            <a:spAutoFit/>
          </a:bodyPr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29238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343609"/>
            <a:ext cx="12192000" cy="47354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6022">
              <a:defRPr/>
            </a:pPr>
            <a:endParaRPr lang="en-US" sz="695">
              <a:solidFill>
                <a:srgbClr val="FFFFFF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484717" y="1706882"/>
            <a:ext cx="5509683" cy="41526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4717" y="617711"/>
            <a:ext cx="11222376" cy="625877"/>
          </a:xfrm>
        </p:spPr>
        <p:txBody>
          <a:bodyPr wrap="square" anchor="b">
            <a:spAutoFit/>
          </a:bodyPr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5"/>
          </p:nvPr>
        </p:nvSpPr>
        <p:spPr>
          <a:xfrm>
            <a:off x="6197412" y="1706882"/>
            <a:ext cx="5509683" cy="41526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098509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343609"/>
            <a:ext cx="12192000" cy="47354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6022">
              <a:defRPr/>
            </a:pPr>
            <a:endParaRPr lang="en-US" sz="695">
              <a:solidFill>
                <a:srgbClr val="FFFFFF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84719" y="2072642"/>
            <a:ext cx="11222567" cy="3898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4718" y="617601"/>
            <a:ext cx="11222567" cy="625877"/>
          </a:xfrm>
        </p:spPr>
        <p:txBody>
          <a:bodyPr>
            <a:spAutoFit/>
          </a:bodyPr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4719" y="1528235"/>
            <a:ext cx="11222565" cy="469900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1"/>
                </a:solidFill>
                <a:latin typeface="+mj-lt"/>
              </a:defRPr>
            </a:lvl1pPr>
            <a:lvl2pPr marL="309019" indent="0">
              <a:buNone/>
              <a:defRPr sz="2933">
                <a:solidFill>
                  <a:schemeClr val="accent1"/>
                </a:solidFill>
                <a:latin typeface="+mj-lt"/>
              </a:defRPr>
            </a:lvl2pPr>
            <a:lvl3pPr marL="609570" indent="0">
              <a:buNone/>
              <a:defRPr sz="2933">
                <a:solidFill>
                  <a:schemeClr val="accent1"/>
                </a:solidFill>
                <a:latin typeface="+mj-lt"/>
              </a:defRPr>
            </a:lvl3pPr>
            <a:lvl4pPr marL="918588" indent="0">
              <a:buNone/>
              <a:defRPr sz="2933">
                <a:solidFill>
                  <a:schemeClr val="accent1"/>
                </a:solidFill>
                <a:latin typeface="+mj-lt"/>
              </a:defRPr>
            </a:lvl4pPr>
            <a:lvl5pPr marL="1219140" indent="0">
              <a:buNone/>
              <a:defRPr sz="2933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510831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47369F-07E5-46BC-A318-6548722126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CE4841-76A4-41BC-A1D8-6C20CFFC1F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2DA05C-EA99-4562-A5F6-9746D82644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ECF27-5B15-452C-913D-AEAC3B17AB5B}" type="datetimeFigureOut">
              <a:rPr lang="en-SG" smtClean="0"/>
              <a:t>23/2/2022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DE366F-9797-4331-BD2D-89842F33E0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A6821A-C745-4B3D-866D-8C93FB20F3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A2F90-3EC6-4909-A0D7-4206B66F09F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5648540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343609"/>
            <a:ext cx="12192000" cy="47354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6022">
              <a:defRPr/>
            </a:pPr>
            <a:endParaRPr lang="en-US" sz="695">
              <a:solidFill>
                <a:srgbClr val="FFFFFF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84717" y="2072642"/>
            <a:ext cx="5510784" cy="3898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4718" y="617601"/>
            <a:ext cx="11222567" cy="625877"/>
          </a:xfrm>
        </p:spPr>
        <p:txBody>
          <a:bodyPr>
            <a:spAutoFit/>
          </a:bodyPr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4717" y="1528235"/>
            <a:ext cx="5510784" cy="469900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1"/>
                </a:solidFill>
                <a:latin typeface="+mj-lt"/>
              </a:defRPr>
            </a:lvl1pPr>
            <a:lvl2pPr marL="309019" indent="0">
              <a:buNone/>
              <a:defRPr sz="2933">
                <a:solidFill>
                  <a:schemeClr val="accent1"/>
                </a:solidFill>
                <a:latin typeface="+mj-lt"/>
              </a:defRPr>
            </a:lvl2pPr>
            <a:lvl3pPr marL="609570" indent="0">
              <a:buNone/>
              <a:defRPr sz="2933">
                <a:solidFill>
                  <a:schemeClr val="accent1"/>
                </a:solidFill>
                <a:latin typeface="+mj-lt"/>
              </a:defRPr>
            </a:lvl3pPr>
            <a:lvl4pPr marL="918588" indent="0">
              <a:buNone/>
              <a:defRPr sz="2933">
                <a:solidFill>
                  <a:schemeClr val="accent1"/>
                </a:solidFill>
                <a:latin typeface="+mj-lt"/>
              </a:defRPr>
            </a:lvl4pPr>
            <a:lvl5pPr marL="1219140" indent="0">
              <a:buNone/>
              <a:defRPr sz="2933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2"/>
          </p:nvPr>
        </p:nvSpPr>
        <p:spPr>
          <a:xfrm>
            <a:off x="6196499" y="2072642"/>
            <a:ext cx="5510784" cy="3898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196499" y="1528235"/>
            <a:ext cx="5510784" cy="469900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1"/>
                </a:solidFill>
                <a:latin typeface="+mj-lt"/>
              </a:defRPr>
            </a:lvl1pPr>
            <a:lvl2pPr marL="309019" indent="0">
              <a:buNone/>
              <a:defRPr sz="2933">
                <a:solidFill>
                  <a:schemeClr val="accent1"/>
                </a:solidFill>
                <a:latin typeface="+mj-lt"/>
              </a:defRPr>
            </a:lvl2pPr>
            <a:lvl3pPr marL="609570" indent="0">
              <a:buNone/>
              <a:defRPr sz="2933">
                <a:solidFill>
                  <a:schemeClr val="accent1"/>
                </a:solidFill>
                <a:latin typeface="+mj-lt"/>
              </a:defRPr>
            </a:lvl3pPr>
            <a:lvl4pPr marL="918588" indent="0">
              <a:buNone/>
              <a:defRPr sz="2933">
                <a:solidFill>
                  <a:schemeClr val="accent1"/>
                </a:solidFill>
                <a:latin typeface="+mj-lt"/>
              </a:defRPr>
            </a:lvl4pPr>
            <a:lvl5pPr marL="1219140" indent="0">
              <a:buNone/>
              <a:defRPr sz="2933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97258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161393" y="1343607"/>
            <a:ext cx="3879273" cy="473546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8088340" y="1343607"/>
            <a:ext cx="4100945" cy="473546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2" y="1343607"/>
            <a:ext cx="4100945" cy="473546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4719" y="617711"/>
            <a:ext cx="11222567" cy="625877"/>
          </a:xfrm>
          <a:prstGeom prst="rect">
            <a:avLst/>
          </a:prstGeom>
        </p:spPr>
        <p:txBody>
          <a:bodyPr vert="horz" wrap="square" lIns="91440" tIns="45720" rIns="91440" bIns="45720" anchor="b" anchorCtr="0">
            <a:spAutoFit/>
          </a:bodyPr>
          <a:lstStyle>
            <a:lvl1pPr algn="l">
              <a:lnSpc>
                <a:spcPct val="100000"/>
              </a:lnSpc>
              <a:defRPr lang="en-US" sz="3467" b="1" kern="1200" spc="0" baseline="0" dirty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026142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akeaway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2"/>
          </p:nvPr>
        </p:nvSpPr>
        <p:spPr>
          <a:xfrm>
            <a:off x="2" y="1343609"/>
            <a:ext cx="8035636" cy="473545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8093323" y="1344086"/>
            <a:ext cx="4098679" cy="4734983"/>
          </a:xfrm>
          <a:solidFill>
            <a:schemeClr val="accent1"/>
          </a:solidFill>
        </p:spPr>
        <p:txBody>
          <a:bodyPr lIns="182880" rIns="274320" anchor="ctr"/>
          <a:lstStyle>
            <a:lvl1pPr marL="0" indent="0">
              <a:buNone/>
              <a:defRPr sz="2933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667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2133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8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4719" y="617711"/>
            <a:ext cx="11222567" cy="625877"/>
          </a:xfrm>
          <a:prstGeom prst="rect">
            <a:avLst/>
          </a:prstGeom>
        </p:spPr>
        <p:txBody>
          <a:bodyPr vert="horz" wrap="square" lIns="91440" tIns="45720" rIns="91440" bIns="45720" anchor="b" anchorCtr="0">
            <a:spAutoFit/>
          </a:bodyPr>
          <a:lstStyle>
            <a:lvl1pPr algn="l">
              <a:defRPr sz="3467" b="1" spc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220658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akeaway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2" y="1343609"/>
            <a:ext cx="8071103" cy="47319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6022">
              <a:defRPr/>
            </a:pPr>
            <a:endParaRPr lang="en-US" sz="695">
              <a:solidFill>
                <a:srgbClr val="FFFFFF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8071103" y="1341121"/>
            <a:ext cx="4133088" cy="4737947"/>
          </a:xfrm>
          <a:solidFill>
            <a:schemeClr val="accent1"/>
          </a:solidFill>
        </p:spPr>
        <p:txBody>
          <a:bodyPr lIns="182880" tIns="91440" rIns="274320" bIns="91440" anchor="ctr" anchorCtr="0"/>
          <a:lstStyle>
            <a:lvl1pPr marL="0" indent="0" algn="l">
              <a:buNone/>
              <a:defRPr sz="26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xfrm>
            <a:off x="484719" y="1706880"/>
            <a:ext cx="7586133" cy="415747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527867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eaway (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343607"/>
            <a:ext cx="12192000" cy="38087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6022">
              <a:defRPr/>
            </a:pPr>
            <a:endParaRPr lang="en-US" sz="695">
              <a:solidFill>
                <a:srgbClr val="FFFFFF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0" y="5210828"/>
            <a:ext cx="12192000" cy="868241"/>
          </a:xfrm>
          <a:solidFill>
            <a:schemeClr val="accent1"/>
          </a:solidFill>
        </p:spPr>
        <p:txBody>
          <a:bodyPr wrap="square" lIns="274320" tIns="91440" rIns="274320" bIns="91440" anchor="ctr" anchorCtr="0"/>
          <a:lstStyle>
            <a:lvl1pPr marL="0" indent="0" algn="ctr">
              <a:buNone/>
              <a:defRPr sz="26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xfrm>
            <a:off x="484719" y="1706880"/>
            <a:ext cx="11222567" cy="32321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0" baseline="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026569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343607"/>
            <a:ext cx="12192000" cy="38087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6022">
              <a:defRPr/>
            </a:pPr>
            <a:endParaRPr lang="en-US" sz="695">
              <a:solidFill>
                <a:srgbClr val="FFFFFF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0" y="5210828"/>
            <a:ext cx="12192000" cy="868241"/>
          </a:xfrm>
          <a:solidFill>
            <a:schemeClr val="accent1"/>
          </a:solidFill>
        </p:spPr>
        <p:txBody>
          <a:bodyPr wrap="square" lIns="274320" tIns="91440" rIns="274320" bIns="91440" anchor="ctr" anchorCtr="0"/>
          <a:lstStyle>
            <a:lvl1pPr marL="0" indent="0" algn="ctr">
              <a:buNone/>
              <a:defRPr sz="26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/>
          </p:nvPr>
        </p:nvSpPr>
        <p:spPr>
          <a:xfrm>
            <a:off x="484719" y="2072641"/>
            <a:ext cx="11222567" cy="293777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0" baseline="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484719" y="1528235"/>
            <a:ext cx="10979149" cy="469900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1"/>
                </a:solidFill>
                <a:latin typeface="+mj-lt"/>
              </a:defRPr>
            </a:lvl1pPr>
            <a:lvl2pPr marL="309019" indent="0">
              <a:buNone/>
              <a:defRPr sz="3200">
                <a:solidFill>
                  <a:schemeClr val="accent1"/>
                </a:solidFill>
                <a:latin typeface="+mj-lt"/>
              </a:defRPr>
            </a:lvl2pPr>
            <a:lvl3pPr marL="609570" indent="0">
              <a:buNone/>
              <a:defRPr sz="3200">
                <a:solidFill>
                  <a:schemeClr val="accent1"/>
                </a:solidFill>
                <a:latin typeface="+mj-lt"/>
              </a:defRPr>
            </a:lvl3pPr>
            <a:lvl4pPr marL="918588" indent="0">
              <a:buNone/>
              <a:defRPr sz="3200">
                <a:solidFill>
                  <a:schemeClr val="accent1"/>
                </a:solidFill>
                <a:latin typeface="+mj-lt"/>
              </a:defRPr>
            </a:lvl4pPr>
            <a:lvl5pPr marL="1219140" indent="0">
              <a:buNone/>
              <a:defRPr sz="32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015992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akeaway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452092" y="1343609"/>
            <a:ext cx="8739909" cy="47354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rtlCol="0" anchor="ctr"/>
          <a:lstStyle/>
          <a:p>
            <a:pPr algn="ctr" defTabSz="776022">
              <a:defRPr/>
            </a:pPr>
            <a:endParaRPr lang="en-US" sz="695">
              <a:solidFill>
                <a:srgbClr val="FFFF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1" y="1343609"/>
            <a:ext cx="3408219" cy="4735459"/>
          </a:xfrm>
          <a:solidFill>
            <a:schemeClr val="accent1"/>
          </a:solidFill>
        </p:spPr>
        <p:txBody>
          <a:bodyPr lIns="274320" tIns="137160" rIns="91440" bIns="182880" anchor="ctr"/>
          <a:lstStyle>
            <a:lvl1pPr marL="0" indent="0" algn="l">
              <a:buClr>
                <a:schemeClr val="bg1"/>
              </a:buClr>
              <a:buNone/>
              <a:defRPr sz="2667">
                <a:solidFill>
                  <a:schemeClr val="bg1"/>
                </a:solidFill>
              </a:defRPr>
            </a:lvl1pPr>
            <a:lvl2pPr marL="226473" indent="0" algn="ctr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2pPr>
            <a:lvl3pPr marL="459294" indent="0" algn="ctr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3599145" y="2072640"/>
            <a:ext cx="8108139" cy="38981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3599148" y="1528235"/>
            <a:ext cx="8002305" cy="469900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1"/>
                </a:solidFill>
                <a:latin typeface="+mj-lt"/>
              </a:defRPr>
            </a:lvl1pPr>
            <a:lvl2pPr marL="309019" indent="0">
              <a:buNone/>
              <a:defRPr sz="3200">
                <a:solidFill>
                  <a:schemeClr val="accent1"/>
                </a:solidFill>
                <a:latin typeface="+mj-lt"/>
              </a:defRPr>
            </a:lvl2pPr>
            <a:lvl3pPr marL="609570" indent="0">
              <a:buNone/>
              <a:defRPr sz="3200">
                <a:solidFill>
                  <a:schemeClr val="accent1"/>
                </a:solidFill>
                <a:latin typeface="+mj-lt"/>
              </a:defRPr>
            </a:lvl3pPr>
            <a:lvl4pPr marL="918588" indent="0">
              <a:buNone/>
              <a:defRPr sz="3200">
                <a:solidFill>
                  <a:schemeClr val="accent1"/>
                </a:solidFill>
                <a:latin typeface="+mj-lt"/>
              </a:defRPr>
            </a:lvl4pPr>
            <a:lvl5pPr marL="1219140" indent="0">
              <a:buNone/>
              <a:defRPr sz="32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269605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6151420" y="1343610"/>
            <a:ext cx="2992581" cy="473688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" y="3777426"/>
            <a:ext cx="3020291" cy="230306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1343609"/>
            <a:ext cx="6096000" cy="23793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88724" y="3777425"/>
            <a:ext cx="2992581" cy="230164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9186295" y="1343609"/>
            <a:ext cx="2992581" cy="23793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7"/>
          </p:nvPr>
        </p:nvSpPr>
        <p:spPr>
          <a:xfrm>
            <a:off x="3075709" y="3777425"/>
            <a:ext cx="3020291" cy="230164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484622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1343609"/>
            <a:ext cx="12192000" cy="4735459"/>
          </a:xfr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9786088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hoto w/L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343609"/>
            <a:ext cx="12192000" cy="47354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6022">
              <a:defRPr/>
            </a:pPr>
            <a:endParaRPr lang="en-US" sz="695">
              <a:solidFill>
                <a:srgbClr val="FFFFFF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2318712" y="1564919"/>
            <a:ext cx="3685309" cy="341500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6206836" y="1564919"/>
            <a:ext cx="3685309" cy="341500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2318714" y="4979924"/>
            <a:ext cx="3684924" cy="895739"/>
          </a:xfrm>
          <a:solidFill>
            <a:schemeClr val="accent1"/>
          </a:solidFill>
          <a:ln>
            <a:noFill/>
          </a:ln>
        </p:spPr>
        <p:txBody>
          <a:bodyPr anchor="ctr" anchorCtr="0"/>
          <a:lstStyle>
            <a:lvl1pPr marL="0" indent="0" algn="ctr">
              <a:spcAft>
                <a:spcPts val="0"/>
              </a:spcAft>
              <a:buNone/>
              <a:defRPr sz="26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6207223" y="4979924"/>
            <a:ext cx="3684924" cy="895739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None/>
              <a:defRPr sz="26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722642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53CA4A-D15B-41C3-A0E2-0E03984515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5BE496-43E5-4D4D-BE72-6E6A3840F0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7F19C4-5707-4BB7-95AC-E2279AFF13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ECF27-5B15-452C-913D-AEAC3B17AB5B}" type="datetimeFigureOut">
              <a:rPr lang="en-SG" smtClean="0"/>
              <a:t>23/2/2022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14E7F4-5461-41FE-9835-0016C82823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BFB008-DF36-42AD-B93D-CEE1ED341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A2F90-3EC6-4909-A0D7-4206B66F09F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0143565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hotos and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2" y="1343609"/>
            <a:ext cx="4045527" cy="473545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8146475" y="1343609"/>
            <a:ext cx="4045527" cy="473545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4084320" y="1341121"/>
            <a:ext cx="4023360" cy="4737947"/>
          </a:xfrm>
          <a:solidFill>
            <a:schemeClr val="accent1"/>
          </a:solidFill>
        </p:spPr>
        <p:txBody>
          <a:bodyPr lIns="182880" tIns="182880" rIns="182880" bIns="182880" anchor="ctr" anchorCtr="0"/>
          <a:lstStyle>
            <a:lvl1pPr marL="0" indent="0" algn="l">
              <a:spcBef>
                <a:spcPts val="727"/>
              </a:spcBef>
              <a:buNone/>
              <a:defRPr sz="26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6465877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and Content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1343609"/>
            <a:ext cx="8005944" cy="47354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6022">
              <a:defRPr/>
            </a:pPr>
            <a:endParaRPr lang="en-US" sz="695">
              <a:solidFill>
                <a:srgbClr val="FFFFFF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64401" y="1343222"/>
            <a:ext cx="4128655" cy="381750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8064399" y="5160725"/>
            <a:ext cx="4128128" cy="918345"/>
          </a:xfrm>
          <a:solidFill>
            <a:schemeClr val="accent1"/>
          </a:solidFill>
          <a:ln>
            <a:noFill/>
          </a:ln>
        </p:spPr>
        <p:txBody>
          <a:bodyPr anchor="ctr" anchorCtr="0"/>
          <a:lstStyle>
            <a:lvl1pPr marL="0" indent="0" algn="ctr">
              <a:spcAft>
                <a:spcPts val="0"/>
              </a:spcAft>
              <a:buNone/>
              <a:defRPr sz="26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484719" y="1706882"/>
            <a:ext cx="7521228" cy="423045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927788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and Content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186697" y="1343609"/>
            <a:ext cx="8005304" cy="47354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6022">
              <a:defRPr/>
            </a:pPr>
            <a:endParaRPr lang="en-US" sz="695">
              <a:solidFill>
                <a:srgbClr val="FFFFFF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-411" y="1343222"/>
            <a:ext cx="4128655" cy="382144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-413" y="5164667"/>
            <a:ext cx="4128128" cy="914400"/>
          </a:xfrm>
          <a:solidFill>
            <a:schemeClr val="accent1"/>
          </a:solidFill>
          <a:ln>
            <a:noFill/>
          </a:ln>
        </p:spPr>
        <p:txBody>
          <a:bodyPr anchor="ctr" anchorCtr="0"/>
          <a:lstStyle>
            <a:lvl1pPr marL="0" indent="0" algn="ctr">
              <a:spcAft>
                <a:spcPts val="0"/>
              </a:spcAft>
              <a:buNone/>
              <a:defRPr sz="26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4300604" y="1706882"/>
            <a:ext cx="7406681" cy="42972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578957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5260883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541050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BCD5B21-3A29-4FE5-AD24-4B8817B0EFAD}"/>
              </a:ext>
            </a:extLst>
          </p:cNvPr>
          <p:cNvSpPr/>
          <p:nvPr/>
        </p:nvSpPr>
        <p:spPr>
          <a:xfrm rot="10800000">
            <a:off x="-1587" y="981077"/>
            <a:ext cx="12192001" cy="28575"/>
          </a:xfrm>
          <a:prstGeom prst="rect">
            <a:avLst/>
          </a:prstGeom>
          <a:gradFill flip="none" rotWithShape="1">
            <a:gsLst>
              <a:gs pos="0">
                <a:srgbClr val="F8BC32"/>
              </a:gs>
              <a:gs pos="100000">
                <a:srgbClr val="F8BC32">
                  <a:alpha val="49804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 sz="2489" kern="0">
              <a:solidFill>
                <a:sysClr val="window" lastClr="FFFFFF"/>
              </a:solidFill>
              <a:latin typeface="Museo Sans 500"/>
            </a:endParaRPr>
          </a:p>
        </p:txBody>
      </p:sp>
      <p:pic>
        <p:nvPicPr>
          <p:cNvPr id="6" name="Picture 8">
            <a:extLst>
              <a:ext uri="{FF2B5EF4-FFF2-40B4-BE49-F238E27FC236}">
                <a16:creationId xmlns:a16="http://schemas.microsoft.com/office/drawing/2014/main" id="{40DA79F4-2319-46C6-B476-C307B5FEE1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5200" y="6051551"/>
            <a:ext cx="1938339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3">
            <a:extLst>
              <a:ext uri="{FF2B5EF4-FFF2-40B4-BE49-F238E27FC236}">
                <a16:creationId xmlns:a16="http://schemas.microsoft.com/office/drawing/2014/main" id="{37B68E1C-78B0-BC47-ABCC-AEE27892A3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52" y="288000"/>
            <a:ext cx="11376000" cy="480000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21CE64A-596D-BF41-96B7-0A116EF94B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6401" y="1333501"/>
            <a:ext cx="11391900" cy="4381500"/>
          </a:xfrm>
        </p:spPr>
        <p:txBody>
          <a:bodyPr/>
          <a:lstStyle>
            <a:lvl5pPr marL="1199941" marR="0" indent="-239989" algn="l" defTabSz="914354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4"/>
            <a:r>
              <a:rPr lang="en-US"/>
              <a:t>Sixth level</a:t>
            </a:r>
          </a:p>
          <a:p>
            <a:pPr lvl="4"/>
            <a:r>
              <a:rPr lang="en-US"/>
              <a:t>Eight level</a:t>
            </a:r>
          </a:p>
          <a:p>
            <a:pPr lvl="4"/>
            <a:r>
              <a:rPr lang="en-US"/>
              <a:t>Ninth level</a:t>
            </a:r>
          </a:p>
          <a:p>
            <a:pPr lvl="4"/>
            <a:endParaRPr lang="en-US"/>
          </a:p>
          <a:p>
            <a:pPr lvl="4"/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02F566CE-F84B-4CB8-A26F-1832F3805BB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85536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50EB3FF-61A4-4B44-B9A9-3CA11EC6B2B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7541" y="6384000"/>
            <a:ext cx="9264000" cy="24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onfidential – do not distribut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B544D00-F7FB-411C-BCB0-82343F5F28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762365B-EBFA-45AC-BFEB-1B5F3FA7E22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08002" y="1320000"/>
            <a:ext cx="11377084" cy="441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47829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600" noProof="0" dirty="0"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223396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ipboard Check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Freeform 16"/>
          <p:cNvSpPr>
            <a:spLocks/>
          </p:cNvSpPr>
          <p:nvPr userDrawn="1"/>
        </p:nvSpPr>
        <p:spPr bwMode="auto">
          <a:xfrm>
            <a:off x="5615947" y="4862426"/>
            <a:ext cx="5376597" cy="601133"/>
          </a:xfrm>
          <a:custGeom>
            <a:avLst/>
            <a:gdLst/>
            <a:ahLst/>
            <a:cxnLst/>
            <a:rect l="l" t="t" r="r" b="b"/>
            <a:pathLst>
              <a:path w="4032448" h="450850">
                <a:moveTo>
                  <a:pt x="0" y="0"/>
                </a:moveTo>
                <a:cubicBezTo>
                  <a:pt x="3806851" y="0"/>
                  <a:pt x="3806851" y="0"/>
                  <a:pt x="3806851" y="0"/>
                </a:cubicBezTo>
                <a:cubicBezTo>
                  <a:pt x="3931176" y="0"/>
                  <a:pt x="4032448" y="100372"/>
                  <a:pt x="4032448" y="225425"/>
                </a:cubicBezTo>
                <a:cubicBezTo>
                  <a:pt x="4032448" y="350478"/>
                  <a:pt x="3931176" y="450850"/>
                  <a:pt x="3806851" y="450850"/>
                </a:cubicBezTo>
                <a:cubicBezTo>
                  <a:pt x="1939338" y="450850"/>
                  <a:pt x="753274" y="450850"/>
                  <a:pt x="0" y="45085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67" name="Freeform 16"/>
          <p:cNvSpPr>
            <a:spLocks/>
          </p:cNvSpPr>
          <p:nvPr userDrawn="1"/>
        </p:nvSpPr>
        <p:spPr bwMode="auto">
          <a:xfrm>
            <a:off x="5615947" y="4072860"/>
            <a:ext cx="5376597" cy="601133"/>
          </a:xfrm>
          <a:custGeom>
            <a:avLst/>
            <a:gdLst/>
            <a:ahLst/>
            <a:cxnLst/>
            <a:rect l="l" t="t" r="r" b="b"/>
            <a:pathLst>
              <a:path w="4032448" h="450850">
                <a:moveTo>
                  <a:pt x="0" y="0"/>
                </a:moveTo>
                <a:cubicBezTo>
                  <a:pt x="3806851" y="0"/>
                  <a:pt x="3806851" y="0"/>
                  <a:pt x="3806851" y="0"/>
                </a:cubicBezTo>
                <a:cubicBezTo>
                  <a:pt x="3931176" y="0"/>
                  <a:pt x="4032448" y="100372"/>
                  <a:pt x="4032448" y="225425"/>
                </a:cubicBezTo>
                <a:cubicBezTo>
                  <a:pt x="4032448" y="350478"/>
                  <a:pt x="3931176" y="450850"/>
                  <a:pt x="3806851" y="450850"/>
                </a:cubicBezTo>
                <a:cubicBezTo>
                  <a:pt x="1939338" y="450850"/>
                  <a:pt x="753274" y="450850"/>
                  <a:pt x="0" y="45085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68" name="Freeform 16"/>
          <p:cNvSpPr>
            <a:spLocks/>
          </p:cNvSpPr>
          <p:nvPr userDrawn="1"/>
        </p:nvSpPr>
        <p:spPr bwMode="auto">
          <a:xfrm>
            <a:off x="5615947" y="3216674"/>
            <a:ext cx="5376597" cy="601133"/>
          </a:xfrm>
          <a:custGeom>
            <a:avLst/>
            <a:gdLst/>
            <a:ahLst/>
            <a:cxnLst/>
            <a:rect l="l" t="t" r="r" b="b"/>
            <a:pathLst>
              <a:path w="4032448" h="450850">
                <a:moveTo>
                  <a:pt x="0" y="0"/>
                </a:moveTo>
                <a:cubicBezTo>
                  <a:pt x="3806851" y="0"/>
                  <a:pt x="3806851" y="0"/>
                  <a:pt x="3806851" y="0"/>
                </a:cubicBezTo>
                <a:cubicBezTo>
                  <a:pt x="3931176" y="0"/>
                  <a:pt x="4032448" y="100372"/>
                  <a:pt x="4032448" y="225425"/>
                </a:cubicBezTo>
                <a:cubicBezTo>
                  <a:pt x="4032448" y="350478"/>
                  <a:pt x="3931176" y="450850"/>
                  <a:pt x="3806851" y="450850"/>
                </a:cubicBezTo>
                <a:cubicBezTo>
                  <a:pt x="1939338" y="450850"/>
                  <a:pt x="753274" y="450850"/>
                  <a:pt x="0" y="45085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69" name="Freeform 16"/>
          <p:cNvSpPr>
            <a:spLocks/>
          </p:cNvSpPr>
          <p:nvPr userDrawn="1"/>
        </p:nvSpPr>
        <p:spPr bwMode="auto">
          <a:xfrm>
            <a:off x="5615947" y="2371110"/>
            <a:ext cx="5376597" cy="601133"/>
          </a:xfrm>
          <a:custGeom>
            <a:avLst/>
            <a:gdLst/>
            <a:ahLst/>
            <a:cxnLst/>
            <a:rect l="l" t="t" r="r" b="b"/>
            <a:pathLst>
              <a:path w="4032448" h="450850">
                <a:moveTo>
                  <a:pt x="0" y="0"/>
                </a:moveTo>
                <a:cubicBezTo>
                  <a:pt x="3806851" y="0"/>
                  <a:pt x="3806851" y="0"/>
                  <a:pt x="3806851" y="0"/>
                </a:cubicBezTo>
                <a:cubicBezTo>
                  <a:pt x="3931176" y="0"/>
                  <a:pt x="4032448" y="100372"/>
                  <a:pt x="4032448" y="225425"/>
                </a:cubicBezTo>
                <a:cubicBezTo>
                  <a:pt x="4032448" y="350478"/>
                  <a:pt x="3931176" y="450850"/>
                  <a:pt x="3806851" y="450850"/>
                </a:cubicBezTo>
                <a:cubicBezTo>
                  <a:pt x="1939338" y="450850"/>
                  <a:pt x="753274" y="450850"/>
                  <a:pt x="0" y="45085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pboard Checklist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30096-E2FA-4C53-8FFA-C198FACBBC31}" type="datetimeFigureOut">
              <a:rPr lang="en-US" noProof="0" smtClean="0"/>
              <a:t>2/23/2022</a:t>
            </a:fld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EB2CE-F8EE-47A0-A8D1-750600A29654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41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5988480" y="2368993"/>
            <a:ext cx="4524011" cy="603249"/>
          </a:xfrm>
        </p:spPr>
        <p:txBody>
          <a:bodyPr anchor="ctr">
            <a:noAutofit/>
          </a:bodyPr>
          <a:lstStyle>
            <a:lvl1pPr marL="0" indent="0" algn="ctr">
              <a:buNone/>
              <a:defRPr sz="2667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is is a sample text.</a:t>
            </a:r>
          </a:p>
        </p:txBody>
      </p:sp>
      <p:sp>
        <p:nvSpPr>
          <p:cNvPr id="143" name="Text Placeholder 4"/>
          <p:cNvSpPr>
            <a:spLocks noGrp="1"/>
          </p:cNvSpPr>
          <p:nvPr>
            <p:ph type="body" sz="quarter" idx="37" hasCustomPrompt="1"/>
          </p:nvPr>
        </p:nvSpPr>
        <p:spPr>
          <a:xfrm>
            <a:off x="5988480" y="3198728"/>
            <a:ext cx="4524011" cy="603249"/>
          </a:xfrm>
        </p:spPr>
        <p:txBody>
          <a:bodyPr anchor="ctr">
            <a:noAutofit/>
          </a:bodyPr>
          <a:lstStyle>
            <a:lvl1pPr marL="0" indent="0" algn="ctr">
              <a:buNone/>
              <a:defRPr sz="2667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is is a sample text.</a:t>
            </a:r>
          </a:p>
        </p:txBody>
      </p:sp>
      <p:sp>
        <p:nvSpPr>
          <p:cNvPr id="145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5988480" y="4030577"/>
            <a:ext cx="4524011" cy="603249"/>
          </a:xfrm>
        </p:spPr>
        <p:txBody>
          <a:bodyPr anchor="ctr">
            <a:noAutofit/>
          </a:bodyPr>
          <a:lstStyle>
            <a:lvl1pPr marL="0" indent="0" algn="ctr">
              <a:buNone/>
              <a:defRPr sz="2667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is is a sample text.</a:t>
            </a:r>
          </a:p>
        </p:txBody>
      </p:sp>
      <p:sp>
        <p:nvSpPr>
          <p:cNvPr id="147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5988480" y="4856717"/>
            <a:ext cx="4524011" cy="603249"/>
          </a:xfrm>
        </p:spPr>
        <p:txBody>
          <a:bodyPr anchor="ctr">
            <a:noAutofit/>
          </a:bodyPr>
          <a:lstStyle>
            <a:lvl1pPr marL="0" indent="0" algn="ctr">
              <a:buNone/>
              <a:defRPr sz="2667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is is a sample text.</a:t>
            </a:r>
          </a:p>
        </p:txBody>
      </p:sp>
      <p:sp>
        <p:nvSpPr>
          <p:cNvPr id="155" name="Oval 5"/>
          <p:cNvSpPr>
            <a:spLocks noChangeArrowheads="1"/>
          </p:cNvSpPr>
          <p:nvPr userDrawn="1"/>
        </p:nvSpPr>
        <p:spPr bwMode="auto">
          <a:xfrm>
            <a:off x="5243413" y="2304852"/>
            <a:ext cx="745067" cy="74506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56" name="Oval 8"/>
          <p:cNvSpPr>
            <a:spLocks noChangeArrowheads="1"/>
          </p:cNvSpPr>
          <p:nvPr userDrawn="1"/>
        </p:nvSpPr>
        <p:spPr bwMode="auto">
          <a:xfrm>
            <a:off x="5243413" y="3134585"/>
            <a:ext cx="745067" cy="74506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57" name="Oval 11"/>
          <p:cNvSpPr>
            <a:spLocks noChangeArrowheads="1"/>
          </p:cNvSpPr>
          <p:nvPr userDrawn="1"/>
        </p:nvSpPr>
        <p:spPr bwMode="auto">
          <a:xfrm>
            <a:off x="5243413" y="3966435"/>
            <a:ext cx="745067" cy="74506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58" name="Oval 14"/>
          <p:cNvSpPr>
            <a:spLocks noChangeArrowheads="1"/>
          </p:cNvSpPr>
          <p:nvPr userDrawn="1"/>
        </p:nvSpPr>
        <p:spPr bwMode="auto">
          <a:xfrm>
            <a:off x="5243413" y="4796168"/>
            <a:ext cx="745067" cy="745067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59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5243413" y="2374702"/>
            <a:ext cx="745067" cy="603249"/>
          </a:xfrm>
        </p:spPr>
        <p:txBody>
          <a:bodyPr anchor="ctr">
            <a:no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</a:t>
            </a:r>
          </a:p>
        </p:txBody>
      </p:sp>
      <p:sp>
        <p:nvSpPr>
          <p:cNvPr id="160" name="Text Placeholder 4"/>
          <p:cNvSpPr>
            <a:spLocks noGrp="1"/>
          </p:cNvSpPr>
          <p:nvPr>
            <p:ph type="body" sz="quarter" idx="44" hasCustomPrompt="1"/>
          </p:nvPr>
        </p:nvSpPr>
        <p:spPr>
          <a:xfrm>
            <a:off x="5243413" y="3204437"/>
            <a:ext cx="745067" cy="603249"/>
          </a:xfrm>
        </p:spPr>
        <p:txBody>
          <a:bodyPr anchor="ctr">
            <a:no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</a:lstStyle>
          <a:p>
            <a:r>
              <a:rPr lang="fr-CA" dirty="0"/>
              <a:t>2</a:t>
            </a:r>
            <a:endParaRPr lang="en-US" dirty="0"/>
          </a:p>
        </p:txBody>
      </p:sp>
      <p:sp>
        <p:nvSpPr>
          <p:cNvPr id="161" name="Text Placeholder 4"/>
          <p:cNvSpPr>
            <a:spLocks noGrp="1"/>
          </p:cNvSpPr>
          <p:nvPr>
            <p:ph type="body" sz="quarter" idx="45" hasCustomPrompt="1"/>
          </p:nvPr>
        </p:nvSpPr>
        <p:spPr>
          <a:xfrm>
            <a:off x="5243413" y="4036286"/>
            <a:ext cx="745067" cy="603249"/>
          </a:xfrm>
        </p:spPr>
        <p:txBody>
          <a:bodyPr anchor="ctr">
            <a:no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</a:lstStyle>
          <a:p>
            <a:r>
              <a:rPr lang="fr-CA" dirty="0"/>
              <a:t>3</a:t>
            </a:r>
            <a:endParaRPr lang="en-US" dirty="0"/>
          </a:p>
        </p:txBody>
      </p:sp>
      <p:sp>
        <p:nvSpPr>
          <p:cNvPr id="162" name="Text Placeholder 4"/>
          <p:cNvSpPr>
            <a:spLocks noGrp="1"/>
          </p:cNvSpPr>
          <p:nvPr>
            <p:ph type="body" sz="quarter" idx="46" hasCustomPrompt="1"/>
          </p:nvPr>
        </p:nvSpPr>
        <p:spPr>
          <a:xfrm>
            <a:off x="5243413" y="4862426"/>
            <a:ext cx="745067" cy="603249"/>
          </a:xfrm>
        </p:spPr>
        <p:txBody>
          <a:bodyPr anchor="ctr">
            <a:no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</a:lstStyle>
          <a:p>
            <a:r>
              <a:rPr lang="fr-CA" dirty="0"/>
              <a:t>4</a:t>
            </a:r>
            <a:endParaRPr lang="en-US" dirty="0"/>
          </a:p>
        </p:txBody>
      </p:sp>
      <p:grpSp>
        <p:nvGrpSpPr>
          <p:cNvPr id="111" name="Group 110"/>
          <p:cNvGrpSpPr/>
          <p:nvPr userDrawn="1"/>
        </p:nvGrpSpPr>
        <p:grpSpPr>
          <a:xfrm>
            <a:off x="1432766" y="1821072"/>
            <a:ext cx="2791329" cy="3921237"/>
            <a:chOff x="3796008" y="1905000"/>
            <a:chExt cx="1461656" cy="2053323"/>
          </a:xfrm>
        </p:grpSpPr>
        <p:sp>
          <p:nvSpPr>
            <p:cNvPr id="112" name="Freeform 6"/>
            <p:cNvSpPr>
              <a:spLocks/>
            </p:cNvSpPr>
            <p:nvPr userDrawn="1"/>
          </p:nvSpPr>
          <p:spPr bwMode="auto">
            <a:xfrm>
              <a:off x="3821812" y="3919616"/>
              <a:ext cx="12902" cy="14746"/>
            </a:xfrm>
            <a:custGeom>
              <a:avLst/>
              <a:gdLst>
                <a:gd name="T0" fmla="*/ 0 w 23"/>
                <a:gd name="T1" fmla="*/ 0 h 24"/>
                <a:gd name="T2" fmla="*/ 0 w 23"/>
                <a:gd name="T3" fmla="*/ 0 h 24"/>
                <a:gd name="T4" fmla="*/ 12 w 23"/>
                <a:gd name="T5" fmla="*/ 13 h 24"/>
                <a:gd name="T6" fmla="*/ 23 w 23"/>
                <a:gd name="T7" fmla="*/ 24 h 24"/>
                <a:gd name="T8" fmla="*/ 0 w 23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4">
                  <a:moveTo>
                    <a:pt x="0" y="0"/>
                  </a:moveTo>
                  <a:lnTo>
                    <a:pt x="0" y="0"/>
                  </a:lnTo>
                  <a:lnTo>
                    <a:pt x="12" y="13"/>
                  </a:lnTo>
                  <a:lnTo>
                    <a:pt x="23" y="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94C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3" name="Freeform 7"/>
            <p:cNvSpPr>
              <a:spLocks/>
            </p:cNvSpPr>
            <p:nvPr userDrawn="1"/>
          </p:nvSpPr>
          <p:spPr bwMode="auto">
            <a:xfrm>
              <a:off x="4570151" y="1916059"/>
              <a:ext cx="18432" cy="20275"/>
            </a:xfrm>
            <a:custGeom>
              <a:avLst/>
              <a:gdLst>
                <a:gd name="T0" fmla="*/ 0 w 32"/>
                <a:gd name="T1" fmla="*/ 0 h 31"/>
                <a:gd name="T2" fmla="*/ 32 w 32"/>
                <a:gd name="T3" fmla="*/ 31 h 31"/>
                <a:gd name="T4" fmla="*/ 32 w 32"/>
                <a:gd name="T5" fmla="*/ 31 h 31"/>
                <a:gd name="T6" fmla="*/ 25 w 32"/>
                <a:gd name="T7" fmla="*/ 21 h 31"/>
                <a:gd name="T8" fmla="*/ 18 w 32"/>
                <a:gd name="T9" fmla="*/ 14 h 31"/>
                <a:gd name="T10" fmla="*/ 9 w 32"/>
                <a:gd name="T11" fmla="*/ 7 h 31"/>
                <a:gd name="T12" fmla="*/ 0 w 32"/>
                <a:gd name="T13" fmla="*/ 0 h 31"/>
                <a:gd name="T14" fmla="*/ 0 w 32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1">
                  <a:moveTo>
                    <a:pt x="0" y="0"/>
                  </a:moveTo>
                  <a:lnTo>
                    <a:pt x="32" y="31"/>
                  </a:lnTo>
                  <a:lnTo>
                    <a:pt x="32" y="31"/>
                  </a:lnTo>
                  <a:lnTo>
                    <a:pt x="25" y="21"/>
                  </a:lnTo>
                  <a:lnTo>
                    <a:pt x="18" y="14"/>
                  </a:lnTo>
                  <a:lnTo>
                    <a:pt x="9" y="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4" name="Freeform 9"/>
            <p:cNvSpPr>
              <a:spLocks/>
            </p:cNvSpPr>
            <p:nvPr userDrawn="1"/>
          </p:nvSpPr>
          <p:spPr bwMode="auto">
            <a:xfrm>
              <a:off x="3882638" y="2192539"/>
              <a:ext cx="1293925" cy="1682840"/>
            </a:xfrm>
            <a:custGeom>
              <a:avLst/>
              <a:gdLst>
                <a:gd name="T0" fmla="*/ 0 w 2105"/>
                <a:gd name="T1" fmla="*/ 0 h 2741"/>
                <a:gd name="T2" fmla="*/ 2105 w 2105"/>
                <a:gd name="T3" fmla="*/ 0 h 2741"/>
                <a:gd name="T4" fmla="*/ 2105 w 2105"/>
                <a:gd name="T5" fmla="*/ 2741 h 2741"/>
                <a:gd name="T6" fmla="*/ 0 w 2105"/>
                <a:gd name="T7" fmla="*/ 2741 h 2741"/>
                <a:gd name="T8" fmla="*/ 0 w 2105"/>
                <a:gd name="T9" fmla="*/ 0 h 2741"/>
                <a:gd name="T10" fmla="*/ 0 w 2105"/>
                <a:gd name="T11" fmla="*/ 0 h 2741"/>
                <a:gd name="T12" fmla="*/ 0 w 2105"/>
                <a:gd name="T13" fmla="*/ 0 h 2741"/>
                <a:gd name="T14" fmla="*/ 0 w 2105"/>
                <a:gd name="T15" fmla="*/ 0 h 2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05" h="2741">
                  <a:moveTo>
                    <a:pt x="0" y="0"/>
                  </a:moveTo>
                  <a:lnTo>
                    <a:pt x="2105" y="0"/>
                  </a:lnTo>
                  <a:lnTo>
                    <a:pt x="2105" y="2741"/>
                  </a:lnTo>
                  <a:lnTo>
                    <a:pt x="0" y="274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5" name="Freeform 11"/>
            <p:cNvSpPr>
              <a:spLocks noEditPoints="1"/>
            </p:cNvSpPr>
            <p:nvPr userDrawn="1"/>
          </p:nvSpPr>
          <p:spPr bwMode="auto">
            <a:xfrm>
              <a:off x="3796008" y="2118811"/>
              <a:ext cx="1461656" cy="1839512"/>
            </a:xfrm>
            <a:custGeom>
              <a:avLst/>
              <a:gdLst>
                <a:gd name="T0" fmla="*/ 2216 w 2379"/>
                <a:gd name="T1" fmla="*/ 0 h 2993"/>
                <a:gd name="T2" fmla="*/ 166 w 2379"/>
                <a:gd name="T3" fmla="*/ 0 h 2993"/>
                <a:gd name="T4" fmla="*/ 133 w 2379"/>
                <a:gd name="T5" fmla="*/ 4 h 2993"/>
                <a:gd name="T6" fmla="*/ 102 w 2379"/>
                <a:gd name="T7" fmla="*/ 13 h 2993"/>
                <a:gd name="T8" fmla="*/ 75 w 2379"/>
                <a:gd name="T9" fmla="*/ 28 h 2993"/>
                <a:gd name="T10" fmla="*/ 50 w 2379"/>
                <a:gd name="T11" fmla="*/ 48 h 2993"/>
                <a:gd name="T12" fmla="*/ 29 w 2379"/>
                <a:gd name="T13" fmla="*/ 73 h 2993"/>
                <a:gd name="T14" fmla="*/ 15 w 2379"/>
                <a:gd name="T15" fmla="*/ 101 h 2993"/>
                <a:gd name="T16" fmla="*/ 5 w 2379"/>
                <a:gd name="T17" fmla="*/ 133 h 2993"/>
                <a:gd name="T18" fmla="*/ 0 w 2379"/>
                <a:gd name="T19" fmla="*/ 167 h 2993"/>
                <a:gd name="T20" fmla="*/ 0 w 2379"/>
                <a:gd name="T21" fmla="*/ 2824 h 2993"/>
                <a:gd name="T22" fmla="*/ 2 w 2379"/>
                <a:gd name="T23" fmla="*/ 2841 h 2993"/>
                <a:gd name="T24" fmla="*/ 9 w 2379"/>
                <a:gd name="T25" fmla="*/ 2874 h 2993"/>
                <a:gd name="T26" fmla="*/ 20 w 2379"/>
                <a:gd name="T27" fmla="*/ 2904 h 2993"/>
                <a:gd name="T28" fmla="*/ 39 w 2379"/>
                <a:gd name="T29" fmla="*/ 2931 h 2993"/>
                <a:gd name="T30" fmla="*/ 62 w 2379"/>
                <a:gd name="T31" fmla="*/ 2954 h 2993"/>
                <a:gd name="T32" fmla="*/ 87 w 2379"/>
                <a:gd name="T33" fmla="*/ 2973 h 2993"/>
                <a:gd name="T34" fmla="*/ 117 w 2379"/>
                <a:gd name="T35" fmla="*/ 2985 h 2993"/>
                <a:gd name="T36" fmla="*/ 150 w 2379"/>
                <a:gd name="T37" fmla="*/ 2993 h 2993"/>
                <a:gd name="T38" fmla="*/ 166 w 2379"/>
                <a:gd name="T39" fmla="*/ 2993 h 2993"/>
                <a:gd name="T40" fmla="*/ 2216 w 2379"/>
                <a:gd name="T41" fmla="*/ 2993 h 2993"/>
                <a:gd name="T42" fmla="*/ 2249 w 2379"/>
                <a:gd name="T43" fmla="*/ 2990 h 2993"/>
                <a:gd name="T44" fmla="*/ 2281 w 2379"/>
                <a:gd name="T45" fmla="*/ 2980 h 2993"/>
                <a:gd name="T46" fmla="*/ 2308 w 2379"/>
                <a:gd name="T47" fmla="*/ 2964 h 2993"/>
                <a:gd name="T48" fmla="*/ 2332 w 2379"/>
                <a:gd name="T49" fmla="*/ 2943 h 2993"/>
                <a:gd name="T50" fmla="*/ 2351 w 2379"/>
                <a:gd name="T51" fmla="*/ 2917 h 2993"/>
                <a:gd name="T52" fmla="*/ 2366 w 2379"/>
                <a:gd name="T53" fmla="*/ 2888 h 2993"/>
                <a:gd name="T54" fmla="*/ 2375 w 2379"/>
                <a:gd name="T55" fmla="*/ 2857 h 2993"/>
                <a:gd name="T56" fmla="*/ 2379 w 2379"/>
                <a:gd name="T57" fmla="*/ 2824 h 2993"/>
                <a:gd name="T58" fmla="*/ 2379 w 2379"/>
                <a:gd name="T59" fmla="*/ 167 h 2993"/>
                <a:gd name="T60" fmla="*/ 2378 w 2379"/>
                <a:gd name="T61" fmla="*/ 149 h 2993"/>
                <a:gd name="T62" fmla="*/ 2372 w 2379"/>
                <a:gd name="T63" fmla="*/ 116 h 2993"/>
                <a:gd name="T64" fmla="*/ 2359 w 2379"/>
                <a:gd name="T65" fmla="*/ 86 h 2993"/>
                <a:gd name="T66" fmla="*/ 2342 w 2379"/>
                <a:gd name="T67" fmla="*/ 60 h 2993"/>
                <a:gd name="T68" fmla="*/ 2321 w 2379"/>
                <a:gd name="T69" fmla="*/ 37 h 2993"/>
                <a:gd name="T70" fmla="*/ 2294 w 2379"/>
                <a:gd name="T71" fmla="*/ 20 h 2993"/>
                <a:gd name="T72" fmla="*/ 2265 w 2379"/>
                <a:gd name="T73" fmla="*/ 8 h 2993"/>
                <a:gd name="T74" fmla="*/ 2233 w 2379"/>
                <a:gd name="T75" fmla="*/ 1 h 2993"/>
                <a:gd name="T76" fmla="*/ 2216 w 2379"/>
                <a:gd name="T77" fmla="*/ 0 h 2993"/>
                <a:gd name="T78" fmla="*/ 2226 w 2379"/>
                <a:gd name="T79" fmla="*/ 2834 h 2993"/>
                <a:gd name="T80" fmla="*/ 160 w 2379"/>
                <a:gd name="T81" fmla="*/ 2834 h 2993"/>
                <a:gd name="T82" fmla="*/ 160 w 2379"/>
                <a:gd name="T83" fmla="*/ 144 h 2993"/>
                <a:gd name="T84" fmla="*/ 2226 w 2379"/>
                <a:gd name="T85" fmla="*/ 144 h 2993"/>
                <a:gd name="T86" fmla="*/ 2226 w 2379"/>
                <a:gd name="T87" fmla="*/ 2834 h 2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379" h="2993">
                  <a:moveTo>
                    <a:pt x="2216" y="0"/>
                  </a:moveTo>
                  <a:lnTo>
                    <a:pt x="2216" y="0"/>
                  </a:lnTo>
                  <a:lnTo>
                    <a:pt x="166" y="0"/>
                  </a:lnTo>
                  <a:lnTo>
                    <a:pt x="166" y="0"/>
                  </a:lnTo>
                  <a:lnTo>
                    <a:pt x="150" y="1"/>
                  </a:lnTo>
                  <a:lnTo>
                    <a:pt x="133" y="4"/>
                  </a:lnTo>
                  <a:lnTo>
                    <a:pt x="117" y="8"/>
                  </a:lnTo>
                  <a:lnTo>
                    <a:pt x="102" y="13"/>
                  </a:lnTo>
                  <a:lnTo>
                    <a:pt x="87" y="20"/>
                  </a:lnTo>
                  <a:lnTo>
                    <a:pt x="75" y="28"/>
                  </a:lnTo>
                  <a:lnTo>
                    <a:pt x="62" y="37"/>
                  </a:lnTo>
                  <a:lnTo>
                    <a:pt x="50" y="48"/>
                  </a:lnTo>
                  <a:lnTo>
                    <a:pt x="39" y="60"/>
                  </a:lnTo>
                  <a:lnTo>
                    <a:pt x="29" y="73"/>
                  </a:lnTo>
                  <a:lnTo>
                    <a:pt x="20" y="86"/>
                  </a:lnTo>
                  <a:lnTo>
                    <a:pt x="15" y="101"/>
                  </a:lnTo>
                  <a:lnTo>
                    <a:pt x="9" y="116"/>
                  </a:lnTo>
                  <a:lnTo>
                    <a:pt x="5" y="133"/>
                  </a:lnTo>
                  <a:lnTo>
                    <a:pt x="2" y="149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2824"/>
                  </a:lnTo>
                  <a:lnTo>
                    <a:pt x="0" y="2824"/>
                  </a:lnTo>
                  <a:lnTo>
                    <a:pt x="2" y="2841"/>
                  </a:lnTo>
                  <a:lnTo>
                    <a:pt x="5" y="2857"/>
                  </a:lnTo>
                  <a:lnTo>
                    <a:pt x="9" y="2874"/>
                  </a:lnTo>
                  <a:lnTo>
                    <a:pt x="15" y="2888"/>
                  </a:lnTo>
                  <a:lnTo>
                    <a:pt x="20" y="2904"/>
                  </a:lnTo>
                  <a:lnTo>
                    <a:pt x="29" y="2917"/>
                  </a:lnTo>
                  <a:lnTo>
                    <a:pt x="39" y="2931"/>
                  </a:lnTo>
                  <a:lnTo>
                    <a:pt x="50" y="2943"/>
                  </a:lnTo>
                  <a:lnTo>
                    <a:pt x="62" y="2954"/>
                  </a:lnTo>
                  <a:lnTo>
                    <a:pt x="75" y="2964"/>
                  </a:lnTo>
                  <a:lnTo>
                    <a:pt x="87" y="2973"/>
                  </a:lnTo>
                  <a:lnTo>
                    <a:pt x="102" y="2980"/>
                  </a:lnTo>
                  <a:lnTo>
                    <a:pt x="117" y="2985"/>
                  </a:lnTo>
                  <a:lnTo>
                    <a:pt x="133" y="2990"/>
                  </a:lnTo>
                  <a:lnTo>
                    <a:pt x="150" y="2993"/>
                  </a:lnTo>
                  <a:lnTo>
                    <a:pt x="166" y="2993"/>
                  </a:lnTo>
                  <a:lnTo>
                    <a:pt x="166" y="2993"/>
                  </a:lnTo>
                  <a:lnTo>
                    <a:pt x="2216" y="2993"/>
                  </a:lnTo>
                  <a:lnTo>
                    <a:pt x="2216" y="2993"/>
                  </a:lnTo>
                  <a:lnTo>
                    <a:pt x="2233" y="2993"/>
                  </a:lnTo>
                  <a:lnTo>
                    <a:pt x="2249" y="2990"/>
                  </a:lnTo>
                  <a:lnTo>
                    <a:pt x="2265" y="2985"/>
                  </a:lnTo>
                  <a:lnTo>
                    <a:pt x="2281" y="2980"/>
                  </a:lnTo>
                  <a:lnTo>
                    <a:pt x="2294" y="2973"/>
                  </a:lnTo>
                  <a:lnTo>
                    <a:pt x="2308" y="2964"/>
                  </a:lnTo>
                  <a:lnTo>
                    <a:pt x="2321" y="2954"/>
                  </a:lnTo>
                  <a:lnTo>
                    <a:pt x="2332" y="2943"/>
                  </a:lnTo>
                  <a:lnTo>
                    <a:pt x="2342" y="2931"/>
                  </a:lnTo>
                  <a:lnTo>
                    <a:pt x="2351" y="2917"/>
                  </a:lnTo>
                  <a:lnTo>
                    <a:pt x="2359" y="2904"/>
                  </a:lnTo>
                  <a:lnTo>
                    <a:pt x="2366" y="2888"/>
                  </a:lnTo>
                  <a:lnTo>
                    <a:pt x="2372" y="2874"/>
                  </a:lnTo>
                  <a:lnTo>
                    <a:pt x="2375" y="2857"/>
                  </a:lnTo>
                  <a:lnTo>
                    <a:pt x="2378" y="2841"/>
                  </a:lnTo>
                  <a:lnTo>
                    <a:pt x="2379" y="2824"/>
                  </a:lnTo>
                  <a:lnTo>
                    <a:pt x="2379" y="2824"/>
                  </a:lnTo>
                  <a:lnTo>
                    <a:pt x="2379" y="167"/>
                  </a:lnTo>
                  <a:lnTo>
                    <a:pt x="2379" y="167"/>
                  </a:lnTo>
                  <a:lnTo>
                    <a:pt x="2378" y="149"/>
                  </a:lnTo>
                  <a:lnTo>
                    <a:pt x="2375" y="133"/>
                  </a:lnTo>
                  <a:lnTo>
                    <a:pt x="2372" y="116"/>
                  </a:lnTo>
                  <a:lnTo>
                    <a:pt x="2366" y="101"/>
                  </a:lnTo>
                  <a:lnTo>
                    <a:pt x="2359" y="86"/>
                  </a:lnTo>
                  <a:lnTo>
                    <a:pt x="2351" y="73"/>
                  </a:lnTo>
                  <a:lnTo>
                    <a:pt x="2342" y="60"/>
                  </a:lnTo>
                  <a:lnTo>
                    <a:pt x="2332" y="48"/>
                  </a:lnTo>
                  <a:lnTo>
                    <a:pt x="2321" y="37"/>
                  </a:lnTo>
                  <a:lnTo>
                    <a:pt x="2308" y="28"/>
                  </a:lnTo>
                  <a:lnTo>
                    <a:pt x="2294" y="20"/>
                  </a:lnTo>
                  <a:lnTo>
                    <a:pt x="2281" y="13"/>
                  </a:lnTo>
                  <a:lnTo>
                    <a:pt x="2265" y="8"/>
                  </a:lnTo>
                  <a:lnTo>
                    <a:pt x="2249" y="4"/>
                  </a:lnTo>
                  <a:lnTo>
                    <a:pt x="2233" y="1"/>
                  </a:lnTo>
                  <a:lnTo>
                    <a:pt x="2216" y="0"/>
                  </a:lnTo>
                  <a:lnTo>
                    <a:pt x="2216" y="0"/>
                  </a:lnTo>
                  <a:close/>
                  <a:moveTo>
                    <a:pt x="2226" y="2834"/>
                  </a:moveTo>
                  <a:lnTo>
                    <a:pt x="2226" y="2834"/>
                  </a:lnTo>
                  <a:lnTo>
                    <a:pt x="160" y="2834"/>
                  </a:lnTo>
                  <a:lnTo>
                    <a:pt x="160" y="2834"/>
                  </a:lnTo>
                  <a:lnTo>
                    <a:pt x="160" y="144"/>
                  </a:lnTo>
                  <a:lnTo>
                    <a:pt x="160" y="144"/>
                  </a:lnTo>
                  <a:lnTo>
                    <a:pt x="2226" y="144"/>
                  </a:lnTo>
                  <a:lnTo>
                    <a:pt x="2226" y="144"/>
                  </a:lnTo>
                  <a:lnTo>
                    <a:pt x="2226" y="2834"/>
                  </a:lnTo>
                  <a:lnTo>
                    <a:pt x="2226" y="2834"/>
                  </a:lnTo>
                  <a:lnTo>
                    <a:pt x="2226" y="2834"/>
                  </a:lnTo>
                  <a:close/>
                </a:path>
              </a:pathLst>
            </a:custGeom>
            <a:solidFill>
              <a:srgbClr val="494C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6" name="Freeform 12"/>
            <p:cNvSpPr>
              <a:spLocks/>
            </p:cNvSpPr>
            <p:nvPr userDrawn="1"/>
          </p:nvSpPr>
          <p:spPr bwMode="auto">
            <a:xfrm>
              <a:off x="3891854" y="2205441"/>
              <a:ext cx="1295768" cy="1682840"/>
            </a:xfrm>
            <a:custGeom>
              <a:avLst/>
              <a:gdLst>
                <a:gd name="T0" fmla="*/ 0 w 2109"/>
                <a:gd name="T1" fmla="*/ 0 h 2740"/>
                <a:gd name="T2" fmla="*/ 2109 w 2109"/>
                <a:gd name="T3" fmla="*/ 0 h 2740"/>
                <a:gd name="T4" fmla="*/ 2109 w 2109"/>
                <a:gd name="T5" fmla="*/ 2740 h 2740"/>
                <a:gd name="T6" fmla="*/ 0 w 2109"/>
                <a:gd name="T7" fmla="*/ 2740 h 2740"/>
                <a:gd name="T8" fmla="*/ 0 w 2109"/>
                <a:gd name="T9" fmla="*/ 0 h 2740"/>
                <a:gd name="T10" fmla="*/ 0 w 2109"/>
                <a:gd name="T11" fmla="*/ 0 h 2740"/>
                <a:gd name="T12" fmla="*/ 0 w 2109"/>
                <a:gd name="T13" fmla="*/ 0 h 2740"/>
                <a:gd name="T14" fmla="*/ 0 w 2109"/>
                <a:gd name="T15" fmla="*/ 0 h 2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09" h="2740">
                  <a:moveTo>
                    <a:pt x="0" y="0"/>
                  </a:moveTo>
                  <a:lnTo>
                    <a:pt x="2109" y="0"/>
                  </a:lnTo>
                  <a:lnTo>
                    <a:pt x="2109" y="2740"/>
                  </a:lnTo>
                  <a:lnTo>
                    <a:pt x="0" y="274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7" name="Freeform 13"/>
            <p:cNvSpPr>
              <a:spLocks/>
            </p:cNvSpPr>
            <p:nvPr userDrawn="1"/>
          </p:nvSpPr>
          <p:spPr bwMode="auto">
            <a:xfrm>
              <a:off x="3888168" y="2198069"/>
              <a:ext cx="1293925" cy="1682840"/>
            </a:xfrm>
            <a:custGeom>
              <a:avLst/>
              <a:gdLst>
                <a:gd name="T0" fmla="*/ 0 w 2105"/>
                <a:gd name="T1" fmla="*/ 0 h 2737"/>
                <a:gd name="T2" fmla="*/ 2105 w 2105"/>
                <a:gd name="T3" fmla="*/ 0 h 2737"/>
                <a:gd name="T4" fmla="*/ 2105 w 2105"/>
                <a:gd name="T5" fmla="*/ 2737 h 2737"/>
                <a:gd name="T6" fmla="*/ 0 w 2105"/>
                <a:gd name="T7" fmla="*/ 2737 h 2737"/>
                <a:gd name="T8" fmla="*/ 0 w 2105"/>
                <a:gd name="T9" fmla="*/ 0 h 2737"/>
                <a:gd name="T10" fmla="*/ 0 w 2105"/>
                <a:gd name="T11" fmla="*/ 0 h 2737"/>
                <a:gd name="T12" fmla="*/ 0 w 2105"/>
                <a:gd name="T13" fmla="*/ 0 h 2737"/>
                <a:gd name="T14" fmla="*/ 0 w 2105"/>
                <a:gd name="T15" fmla="*/ 0 h 2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05" h="2737">
                  <a:moveTo>
                    <a:pt x="0" y="0"/>
                  </a:moveTo>
                  <a:lnTo>
                    <a:pt x="2105" y="0"/>
                  </a:lnTo>
                  <a:lnTo>
                    <a:pt x="2105" y="2737"/>
                  </a:lnTo>
                  <a:lnTo>
                    <a:pt x="0" y="2737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8" name="Freeform 14"/>
            <p:cNvSpPr>
              <a:spLocks/>
            </p:cNvSpPr>
            <p:nvPr userDrawn="1"/>
          </p:nvSpPr>
          <p:spPr bwMode="auto">
            <a:xfrm>
              <a:off x="3882638" y="2192539"/>
              <a:ext cx="1293925" cy="1682840"/>
            </a:xfrm>
            <a:custGeom>
              <a:avLst/>
              <a:gdLst>
                <a:gd name="T0" fmla="*/ 0 w 2105"/>
                <a:gd name="T1" fmla="*/ 0 h 2741"/>
                <a:gd name="T2" fmla="*/ 2105 w 2105"/>
                <a:gd name="T3" fmla="*/ 0 h 2741"/>
                <a:gd name="T4" fmla="*/ 2105 w 2105"/>
                <a:gd name="T5" fmla="*/ 2741 h 2741"/>
                <a:gd name="T6" fmla="*/ 0 w 2105"/>
                <a:gd name="T7" fmla="*/ 2741 h 2741"/>
                <a:gd name="T8" fmla="*/ 0 w 2105"/>
                <a:gd name="T9" fmla="*/ 0 h 2741"/>
                <a:gd name="T10" fmla="*/ 0 w 2105"/>
                <a:gd name="T11" fmla="*/ 0 h 2741"/>
                <a:gd name="T12" fmla="*/ 0 w 2105"/>
                <a:gd name="T13" fmla="*/ 0 h 2741"/>
                <a:gd name="T14" fmla="*/ 0 w 2105"/>
                <a:gd name="T15" fmla="*/ 0 h 2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05" h="2741">
                  <a:moveTo>
                    <a:pt x="0" y="0"/>
                  </a:moveTo>
                  <a:lnTo>
                    <a:pt x="2105" y="0"/>
                  </a:lnTo>
                  <a:lnTo>
                    <a:pt x="2105" y="2741"/>
                  </a:lnTo>
                  <a:lnTo>
                    <a:pt x="0" y="274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9" name="Freeform 15"/>
            <p:cNvSpPr>
              <a:spLocks/>
            </p:cNvSpPr>
            <p:nvPr userDrawn="1"/>
          </p:nvSpPr>
          <p:spPr bwMode="auto">
            <a:xfrm>
              <a:off x="4527757" y="2192539"/>
              <a:ext cx="648806" cy="1682840"/>
            </a:xfrm>
            <a:custGeom>
              <a:avLst/>
              <a:gdLst>
                <a:gd name="T0" fmla="*/ 0 w 1055"/>
                <a:gd name="T1" fmla="*/ 0 h 2741"/>
                <a:gd name="T2" fmla="*/ 1055 w 1055"/>
                <a:gd name="T3" fmla="*/ 0 h 2741"/>
                <a:gd name="T4" fmla="*/ 1055 w 1055"/>
                <a:gd name="T5" fmla="*/ 2741 h 2741"/>
                <a:gd name="T6" fmla="*/ 0 w 1055"/>
                <a:gd name="T7" fmla="*/ 2741 h 2741"/>
                <a:gd name="T8" fmla="*/ 0 w 1055"/>
                <a:gd name="T9" fmla="*/ 0 h 2741"/>
                <a:gd name="T10" fmla="*/ 0 w 1055"/>
                <a:gd name="T11" fmla="*/ 0 h 2741"/>
                <a:gd name="T12" fmla="*/ 0 w 1055"/>
                <a:gd name="T13" fmla="*/ 0 h 2741"/>
                <a:gd name="T14" fmla="*/ 0 w 1055"/>
                <a:gd name="T15" fmla="*/ 0 h 2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5" h="2741">
                  <a:moveTo>
                    <a:pt x="0" y="0"/>
                  </a:moveTo>
                  <a:lnTo>
                    <a:pt x="1055" y="0"/>
                  </a:lnTo>
                  <a:lnTo>
                    <a:pt x="1055" y="2741"/>
                  </a:lnTo>
                  <a:lnTo>
                    <a:pt x="0" y="274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6F7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0" name="Freeform 16"/>
            <p:cNvSpPr>
              <a:spLocks/>
            </p:cNvSpPr>
            <p:nvPr userDrawn="1"/>
          </p:nvSpPr>
          <p:spPr bwMode="auto">
            <a:xfrm>
              <a:off x="4184923" y="2056142"/>
              <a:ext cx="687513" cy="141926"/>
            </a:xfrm>
            <a:custGeom>
              <a:avLst/>
              <a:gdLst>
                <a:gd name="T0" fmla="*/ 1121 w 1121"/>
                <a:gd name="T1" fmla="*/ 233 h 233"/>
                <a:gd name="T2" fmla="*/ 1121 w 1121"/>
                <a:gd name="T3" fmla="*/ 233 h 233"/>
                <a:gd name="T4" fmla="*/ 0 w 1121"/>
                <a:gd name="T5" fmla="*/ 233 h 233"/>
                <a:gd name="T6" fmla="*/ 0 w 1121"/>
                <a:gd name="T7" fmla="*/ 233 h 233"/>
                <a:gd name="T8" fmla="*/ 0 w 1121"/>
                <a:gd name="T9" fmla="*/ 216 h 233"/>
                <a:gd name="T10" fmla="*/ 4 w 1121"/>
                <a:gd name="T11" fmla="*/ 199 h 233"/>
                <a:gd name="T12" fmla="*/ 8 w 1121"/>
                <a:gd name="T13" fmla="*/ 180 h 233"/>
                <a:gd name="T14" fmla="*/ 15 w 1121"/>
                <a:gd name="T15" fmla="*/ 162 h 233"/>
                <a:gd name="T16" fmla="*/ 24 w 1121"/>
                <a:gd name="T17" fmla="*/ 143 h 233"/>
                <a:gd name="T18" fmla="*/ 35 w 1121"/>
                <a:gd name="T19" fmla="*/ 124 h 233"/>
                <a:gd name="T20" fmla="*/ 47 w 1121"/>
                <a:gd name="T21" fmla="*/ 106 h 233"/>
                <a:gd name="T22" fmla="*/ 61 w 1121"/>
                <a:gd name="T23" fmla="*/ 89 h 233"/>
                <a:gd name="T24" fmla="*/ 61 w 1121"/>
                <a:gd name="T25" fmla="*/ 89 h 233"/>
                <a:gd name="T26" fmla="*/ 78 w 1121"/>
                <a:gd name="T27" fmla="*/ 71 h 233"/>
                <a:gd name="T28" fmla="*/ 98 w 1121"/>
                <a:gd name="T29" fmla="*/ 54 h 233"/>
                <a:gd name="T30" fmla="*/ 118 w 1121"/>
                <a:gd name="T31" fmla="*/ 39 h 233"/>
                <a:gd name="T32" fmla="*/ 140 w 1121"/>
                <a:gd name="T33" fmla="*/ 26 h 233"/>
                <a:gd name="T34" fmla="*/ 161 w 1121"/>
                <a:gd name="T35" fmla="*/ 16 h 233"/>
                <a:gd name="T36" fmla="*/ 186 w 1121"/>
                <a:gd name="T37" fmla="*/ 7 h 233"/>
                <a:gd name="T38" fmla="*/ 211 w 1121"/>
                <a:gd name="T39" fmla="*/ 3 h 233"/>
                <a:gd name="T40" fmla="*/ 224 w 1121"/>
                <a:gd name="T41" fmla="*/ 1 h 233"/>
                <a:gd name="T42" fmla="*/ 237 w 1121"/>
                <a:gd name="T43" fmla="*/ 0 h 233"/>
                <a:gd name="T44" fmla="*/ 237 w 1121"/>
                <a:gd name="T45" fmla="*/ 0 h 233"/>
                <a:gd name="T46" fmla="*/ 886 w 1121"/>
                <a:gd name="T47" fmla="*/ 0 h 233"/>
                <a:gd name="T48" fmla="*/ 886 w 1121"/>
                <a:gd name="T49" fmla="*/ 0 h 233"/>
                <a:gd name="T50" fmla="*/ 899 w 1121"/>
                <a:gd name="T51" fmla="*/ 1 h 233"/>
                <a:gd name="T52" fmla="*/ 910 w 1121"/>
                <a:gd name="T53" fmla="*/ 3 h 233"/>
                <a:gd name="T54" fmla="*/ 935 w 1121"/>
                <a:gd name="T55" fmla="*/ 7 h 233"/>
                <a:gd name="T56" fmla="*/ 959 w 1121"/>
                <a:gd name="T57" fmla="*/ 16 h 233"/>
                <a:gd name="T58" fmla="*/ 981 w 1121"/>
                <a:gd name="T59" fmla="*/ 26 h 233"/>
                <a:gd name="T60" fmla="*/ 1002 w 1121"/>
                <a:gd name="T61" fmla="*/ 39 h 233"/>
                <a:gd name="T62" fmla="*/ 1022 w 1121"/>
                <a:gd name="T63" fmla="*/ 54 h 233"/>
                <a:gd name="T64" fmla="*/ 1041 w 1121"/>
                <a:gd name="T65" fmla="*/ 71 h 233"/>
                <a:gd name="T66" fmla="*/ 1059 w 1121"/>
                <a:gd name="T67" fmla="*/ 89 h 233"/>
                <a:gd name="T68" fmla="*/ 1059 w 1121"/>
                <a:gd name="T69" fmla="*/ 89 h 233"/>
                <a:gd name="T70" fmla="*/ 1072 w 1121"/>
                <a:gd name="T71" fmla="*/ 106 h 233"/>
                <a:gd name="T72" fmla="*/ 1085 w 1121"/>
                <a:gd name="T73" fmla="*/ 124 h 233"/>
                <a:gd name="T74" fmla="*/ 1095 w 1121"/>
                <a:gd name="T75" fmla="*/ 143 h 233"/>
                <a:gd name="T76" fmla="*/ 1104 w 1121"/>
                <a:gd name="T77" fmla="*/ 162 h 233"/>
                <a:gd name="T78" fmla="*/ 1111 w 1121"/>
                <a:gd name="T79" fmla="*/ 180 h 233"/>
                <a:gd name="T80" fmla="*/ 1116 w 1121"/>
                <a:gd name="T81" fmla="*/ 199 h 233"/>
                <a:gd name="T82" fmla="*/ 1119 w 1121"/>
                <a:gd name="T83" fmla="*/ 216 h 233"/>
                <a:gd name="T84" fmla="*/ 1121 w 1121"/>
                <a:gd name="T85" fmla="*/ 233 h 233"/>
                <a:gd name="T86" fmla="*/ 1121 w 1121"/>
                <a:gd name="T87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21" h="233">
                  <a:moveTo>
                    <a:pt x="1121" y="233"/>
                  </a:moveTo>
                  <a:lnTo>
                    <a:pt x="1121" y="233"/>
                  </a:lnTo>
                  <a:lnTo>
                    <a:pt x="0" y="233"/>
                  </a:lnTo>
                  <a:lnTo>
                    <a:pt x="0" y="233"/>
                  </a:lnTo>
                  <a:lnTo>
                    <a:pt x="0" y="216"/>
                  </a:lnTo>
                  <a:lnTo>
                    <a:pt x="4" y="199"/>
                  </a:lnTo>
                  <a:lnTo>
                    <a:pt x="8" y="180"/>
                  </a:lnTo>
                  <a:lnTo>
                    <a:pt x="15" y="162"/>
                  </a:lnTo>
                  <a:lnTo>
                    <a:pt x="24" y="143"/>
                  </a:lnTo>
                  <a:lnTo>
                    <a:pt x="35" y="124"/>
                  </a:lnTo>
                  <a:lnTo>
                    <a:pt x="47" y="106"/>
                  </a:lnTo>
                  <a:lnTo>
                    <a:pt x="61" y="89"/>
                  </a:lnTo>
                  <a:lnTo>
                    <a:pt x="61" y="89"/>
                  </a:lnTo>
                  <a:lnTo>
                    <a:pt x="78" y="71"/>
                  </a:lnTo>
                  <a:lnTo>
                    <a:pt x="98" y="54"/>
                  </a:lnTo>
                  <a:lnTo>
                    <a:pt x="118" y="39"/>
                  </a:lnTo>
                  <a:lnTo>
                    <a:pt x="140" y="26"/>
                  </a:lnTo>
                  <a:lnTo>
                    <a:pt x="161" y="16"/>
                  </a:lnTo>
                  <a:lnTo>
                    <a:pt x="186" y="7"/>
                  </a:lnTo>
                  <a:lnTo>
                    <a:pt x="211" y="3"/>
                  </a:lnTo>
                  <a:lnTo>
                    <a:pt x="224" y="1"/>
                  </a:lnTo>
                  <a:lnTo>
                    <a:pt x="237" y="0"/>
                  </a:lnTo>
                  <a:lnTo>
                    <a:pt x="237" y="0"/>
                  </a:lnTo>
                  <a:lnTo>
                    <a:pt x="886" y="0"/>
                  </a:lnTo>
                  <a:lnTo>
                    <a:pt x="886" y="0"/>
                  </a:lnTo>
                  <a:lnTo>
                    <a:pt x="899" y="1"/>
                  </a:lnTo>
                  <a:lnTo>
                    <a:pt x="910" y="3"/>
                  </a:lnTo>
                  <a:lnTo>
                    <a:pt x="935" y="7"/>
                  </a:lnTo>
                  <a:lnTo>
                    <a:pt x="959" y="16"/>
                  </a:lnTo>
                  <a:lnTo>
                    <a:pt x="981" y="26"/>
                  </a:lnTo>
                  <a:lnTo>
                    <a:pt x="1002" y="39"/>
                  </a:lnTo>
                  <a:lnTo>
                    <a:pt x="1022" y="54"/>
                  </a:lnTo>
                  <a:lnTo>
                    <a:pt x="1041" y="71"/>
                  </a:lnTo>
                  <a:lnTo>
                    <a:pt x="1059" y="89"/>
                  </a:lnTo>
                  <a:lnTo>
                    <a:pt x="1059" y="89"/>
                  </a:lnTo>
                  <a:lnTo>
                    <a:pt x="1072" y="106"/>
                  </a:lnTo>
                  <a:lnTo>
                    <a:pt x="1085" y="124"/>
                  </a:lnTo>
                  <a:lnTo>
                    <a:pt x="1095" y="143"/>
                  </a:lnTo>
                  <a:lnTo>
                    <a:pt x="1104" y="162"/>
                  </a:lnTo>
                  <a:lnTo>
                    <a:pt x="1111" y="180"/>
                  </a:lnTo>
                  <a:lnTo>
                    <a:pt x="1116" y="199"/>
                  </a:lnTo>
                  <a:lnTo>
                    <a:pt x="1119" y="216"/>
                  </a:lnTo>
                  <a:lnTo>
                    <a:pt x="1121" y="233"/>
                  </a:lnTo>
                  <a:lnTo>
                    <a:pt x="1121" y="233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1" name="Freeform 17"/>
            <p:cNvSpPr>
              <a:spLocks/>
            </p:cNvSpPr>
            <p:nvPr userDrawn="1"/>
          </p:nvSpPr>
          <p:spPr bwMode="auto">
            <a:xfrm>
              <a:off x="4184923" y="2198069"/>
              <a:ext cx="687513" cy="29491"/>
            </a:xfrm>
            <a:custGeom>
              <a:avLst/>
              <a:gdLst>
                <a:gd name="T0" fmla="*/ 0 w 1121"/>
                <a:gd name="T1" fmla="*/ 0 h 47"/>
                <a:gd name="T2" fmla="*/ 1121 w 1121"/>
                <a:gd name="T3" fmla="*/ 0 h 47"/>
                <a:gd name="T4" fmla="*/ 1121 w 1121"/>
                <a:gd name="T5" fmla="*/ 47 h 47"/>
                <a:gd name="T6" fmla="*/ 0 w 1121"/>
                <a:gd name="T7" fmla="*/ 47 h 47"/>
                <a:gd name="T8" fmla="*/ 0 w 1121"/>
                <a:gd name="T9" fmla="*/ 0 h 47"/>
                <a:gd name="T10" fmla="*/ 0 w 1121"/>
                <a:gd name="T11" fmla="*/ 0 h 47"/>
                <a:gd name="T12" fmla="*/ 0 w 1121"/>
                <a:gd name="T13" fmla="*/ 0 h 47"/>
                <a:gd name="T14" fmla="*/ 0 w 1121"/>
                <a:gd name="T1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1" h="47">
                  <a:moveTo>
                    <a:pt x="0" y="0"/>
                  </a:moveTo>
                  <a:lnTo>
                    <a:pt x="1121" y="0"/>
                  </a:lnTo>
                  <a:lnTo>
                    <a:pt x="1121" y="47"/>
                  </a:lnTo>
                  <a:lnTo>
                    <a:pt x="0" y="47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2" name="Freeform 18"/>
            <p:cNvSpPr>
              <a:spLocks noEditPoints="1"/>
            </p:cNvSpPr>
            <p:nvPr userDrawn="1"/>
          </p:nvSpPr>
          <p:spPr bwMode="auto">
            <a:xfrm>
              <a:off x="4454030" y="1905000"/>
              <a:ext cx="147456" cy="151142"/>
            </a:xfrm>
            <a:custGeom>
              <a:avLst/>
              <a:gdLst>
                <a:gd name="T0" fmla="*/ 120 w 240"/>
                <a:gd name="T1" fmla="*/ 0 h 246"/>
                <a:gd name="T2" fmla="*/ 94 w 240"/>
                <a:gd name="T3" fmla="*/ 1 h 246"/>
                <a:gd name="T4" fmla="*/ 72 w 240"/>
                <a:gd name="T5" fmla="*/ 9 h 246"/>
                <a:gd name="T6" fmla="*/ 52 w 240"/>
                <a:gd name="T7" fmla="*/ 20 h 246"/>
                <a:gd name="T8" fmla="*/ 34 w 240"/>
                <a:gd name="T9" fmla="*/ 36 h 246"/>
                <a:gd name="T10" fmla="*/ 20 w 240"/>
                <a:gd name="T11" fmla="*/ 54 h 246"/>
                <a:gd name="T12" fmla="*/ 9 w 240"/>
                <a:gd name="T13" fmla="*/ 74 h 246"/>
                <a:gd name="T14" fmla="*/ 2 w 240"/>
                <a:gd name="T15" fmla="*/ 99 h 246"/>
                <a:gd name="T16" fmla="*/ 0 w 240"/>
                <a:gd name="T17" fmla="*/ 123 h 246"/>
                <a:gd name="T18" fmla="*/ 0 w 240"/>
                <a:gd name="T19" fmla="*/ 246 h 246"/>
                <a:gd name="T20" fmla="*/ 240 w 240"/>
                <a:gd name="T21" fmla="*/ 246 h 246"/>
                <a:gd name="T22" fmla="*/ 240 w 240"/>
                <a:gd name="T23" fmla="*/ 123 h 246"/>
                <a:gd name="T24" fmla="*/ 239 w 240"/>
                <a:gd name="T25" fmla="*/ 110 h 246"/>
                <a:gd name="T26" fmla="*/ 235 w 240"/>
                <a:gd name="T27" fmla="*/ 86 h 246"/>
                <a:gd name="T28" fmla="*/ 226 w 240"/>
                <a:gd name="T29" fmla="*/ 64 h 246"/>
                <a:gd name="T30" fmla="*/ 213 w 240"/>
                <a:gd name="T31" fmla="*/ 44 h 246"/>
                <a:gd name="T32" fmla="*/ 197 w 240"/>
                <a:gd name="T33" fmla="*/ 27 h 246"/>
                <a:gd name="T34" fmla="*/ 177 w 240"/>
                <a:gd name="T35" fmla="*/ 14 h 246"/>
                <a:gd name="T36" fmla="*/ 156 w 240"/>
                <a:gd name="T37" fmla="*/ 4 h 246"/>
                <a:gd name="T38" fmla="*/ 133 w 240"/>
                <a:gd name="T39" fmla="*/ 0 h 246"/>
                <a:gd name="T40" fmla="*/ 120 w 240"/>
                <a:gd name="T41" fmla="*/ 0 h 246"/>
                <a:gd name="T42" fmla="*/ 120 w 240"/>
                <a:gd name="T43" fmla="*/ 197 h 246"/>
                <a:gd name="T44" fmla="*/ 90 w 240"/>
                <a:gd name="T45" fmla="*/ 192 h 246"/>
                <a:gd name="T46" fmla="*/ 67 w 240"/>
                <a:gd name="T47" fmla="*/ 176 h 246"/>
                <a:gd name="T48" fmla="*/ 50 w 240"/>
                <a:gd name="T49" fmla="*/ 153 h 246"/>
                <a:gd name="T50" fmla="*/ 44 w 240"/>
                <a:gd name="T51" fmla="*/ 123 h 246"/>
                <a:gd name="T52" fmla="*/ 46 w 240"/>
                <a:gd name="T53" fmla="*/ 109 h 246"/>
                <a:gd name="T54" fmla="*/ 57 w 240"/>
                <a:gd name="T55" fmla="*/ 81 h 246"/>
                <a:gd name="T56" fmla="*/ 77 w 240"/>
                <a:gd name="T57" fmla="*/ 61 h 246"/>
                <a:gd name="T58" fmla="*/ 104 w 240"/>
                <a:gd name="T59" fmla="*/ 50 h 246"/>
                <a:gd name="T60" fmla="*/ 120 w 240"/>
                <a:gd name="T61" fmla="*/ 49 h 246"/>
                <a:gd name="T62" fmla="*/ 149 w 240"/>
                <a:gd name="T63" fmla="*/ 54 h 246"/>
                <a:gd name="T64" fmla="*/ 173 w 240"/>
                <a:gd name="T65" fmla="*/ 71 h 246"/>
                <a:gd name="T66" fmla="*/ 189 w 240"/>
                <a:gd name="T67" fmla="*/ 94 h 246"/>
                <a:gd name="T68" fmla="*/ 195 w 240"/>
                <a:gd name="T69" fmla="*/ 123 h 246"/>
                <a:gd name="T70" fmla="*/ 193 w 240"/>
                <a:gd name="T71" fmla="*/ 139 h 246"/>
                <a:gd name="T72" fmla="*/ 182 w 240"/>
                <a:gd name="T73" fmla="*/ 166 h 246"/>
                <a:gd name="T74" fmla="*/ 162 w 240"/>
                <a:gd name="T75" fmla="*/ 186 h 246"/>
                <a:gd name="T76" fmla="*/ 134 w 240"/>
                <a:gd name="T77" fmla="*/ 196 h 246"/>
                <a:gd name="T78" fmla="*/ 120 w 240"/>
                <a:gd name="T79" fmla="*/ 197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40" h="246">
                  <a:moveTo>
                    <a:pt x="120" y="0"/>
                  </a:moveTo>
                  <a:lnTo>
                    <a:pt x="120" y="0"/>
                  </a:lnTo>
                  <a:lnTo>
                    <a:pt x="107" y="0"/>
                  </a:lnTo>
                  <a:lnTo>
                    <a:pt x="94" y="1"/>
                  </a:lnTo>
                  <a:lnTo>
                    <a:pt x="83" y="4"/>
                  </a:lnTo>
                  <a:lnTo>
                    <a:pt x="72" y="9"/>
                  </a:lnTo>
                  <a:lnTo>
                    <a:pt x="62" y="14"/>
                  </a:lnTo>
                  <a:lnTo>
                    <a:pt x="52" y="20"/>
                  </a:lnTo>
                  <a:lnTo>
                    <a:pt x="43" y="27"/>
                  </a:lnTo>
                  <a:lnTo>
                    <a:pt x="34" y="36"/>
                  </a:lnTo>
                  <a:lnTo>
                    <a:pt x="26" y="44"/>
                  </a:lnTo>
                  <a:lnTo>
                    <a:pt x="20" y="54"/>
                  </a:lnTo>
                  <a:lnTo>
                    <a:pt x="14" y="64"/>
                  </a:lnTo>
                  <a:lnTo>
                    <a:pt x="9" y="74"/>
                  </a:lnTo>
                  <a:lnTo>
                    <a:pt x="4" y="86"/>
                  </a:lnTo>
                  <a:lnTo>
                    <a:pt x="2" y="99"/>
                  </a:lnTo>
                  <a:lnTo>
                    <a:pt x="0" y="110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0" y="246"/>
                  </a:lnTo>
                  <a:lnTo>
                    <a:pt x="0" y="246"/>
                  </a:lnTo>
                  <a:lnTo>
                    <a:pt x="240" y="246"/>
                  </a:lnTo>
                  <a:lnTo>
                    <a:pt x="240" y="246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39" y="110"/>
                  </a:lnTo>
                  <a:lnTo>
                    <a:pt x="237" y="99"/>
                  </a:lnTo>
                  <a:lnTo>
                    <a:pt x="235" y="86"/>
                  </a:lnTo>
                  <a:lnTo>
                    <a:pt x="230" y="74"/>
                  </a:lnTo>
                  <a:lnTo>
                    <a:pt x="226" y="64"/>
                  </a:lnTo>
                  <a:lnTo>
                    <a:pt x="220" y="54"/>
                  </a:lnTo>
                  <a:lnTo>
                    <a:pt x="213" y="44"/>
                  </a:lnTo>
                  <a:lnTo>
                    <a:pt x="206" y="36"/>
                  </a:lnTo>
                  <a:lnTo>
                    <a:pt x="197" y="27"/>
                  </a:lnTo>
                  <a:lnTo>
                    <a:pt x="187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4"/>
                  </a:lnTo>
                  <a:lnTo>
                    <a:pt x="145" y="1"/>
                  </a:lnTo>
                  <a:lnTo>
                    <a:pt x="133" y="0"/>
                  </a:lnTo>
                  <a:lnTo>
                    <a:pt x="120" y="0"/>
                  </a:lnTo>
                  <a:lnTo>
                    <a:pt x="120" y="0"/>
                  </a:lnTo>
                  <a:close/>
                  <a:moveTo>
                    <a:pt x="120" y="197"/>
                  </a:moveTo>
                  <a:lnTo>
                    <a:pt x="120" y="197"/>
                  </a:lnTo>
                  <a:lnTo>
                    <a:pt x="104" y="196"/>
                  </a:lnTo>
                  <a:lnTo>
                    <a:pt x="90" y="192"/>
                  </a:lnTo>
                  <a:lnTo>
                    <a:pt x="77" y="186"/>
                  </a:lnTo>
                  <a:lnTo>
                    <a:pt x="67" y="176"/>
                  </a:lnTo>
                  <a:lnTo>
                    <a:pt x="57" y="166"/>
                  </a:lnTo>
                  <a:lnTo>
                    <a:pt x="50" y="153"/>
                  </a:lnTo>
                  <a:lnTo>
                    <a:pt x="46" y="139"/>
                  </a:lnTo>
                  <a:lnTo>
                    <a:pt x="44" y="123"/>
                  </a:lnTo>
                  <a:lnTo>
                    <a:pt x="44" y="123"/>
                  </a:lnTo>
                  <a:lnTo>
                    <a:pt x="46" y="109"/>
                  </a:lnTo>
                  <a:lnTo>
                    <a:pt x="50" y="94"/>
                  </a:lnTo>
                  <a:lnTo>
                    <a:pt x="57" y="81"/>
                  </a:lnTo>
                  <a:lnTo>
                    <a:pt x="67" y="71"/>
                  </a:lnTo>
                  <a:lnTo>
                    <a:pt x="77" y="61"/>
                  </a:lnTo>
                  <a:lnTo>
                    <a:pt x="90" y="54"/>
                  </a:lnTo>
                  <a:lnTo>
                    <a:pt x="104" y="50"/>
                  </a:lnTo>
                  <a:lnTo>
                    <a:pt x="120" y="49"/>
                  </a:lnTo>
                  <a:lnTo>
                    <a:pt x="120" y="49"/>
                  </a:lnTo>
                  <a:lnTo>
                    <a:pt x="134" y="50"/>
                  </a:lnTo>
                  <a:lnTo>
                    <a:pt x="149" y="54"/>
                  </a:lnTo>
                  <a:lnTo>
                    <a:pt x="162" y="61"/>
                  </a:lnTo>
                  <a:lnTo>
                    <a:pt x="173" y="71"/>
                  </a:lnTo>
                  <a:lnTo>
                    <a:pt x="182" y="81"/>
                  </a:lnTo>
                  <a:lnTo>
                    <a:pt x="189" y="94"/>
                  </a:lnTo>
                  <a:lnTo>
                    <a:pt x="193" y="109"/>
                  </a:lnTo>
                  <a:lnTo>
                    <a:pt x="195" y="123"/>
                  </a:lnTo>
                  <a:lnTo>
                    <a:pt x="195" y="123"/>
                  </a:lnTo>
                  <a:lnTo>
                    <a:pt x="193" y="139"/>
                  </a:lnTo>
                  <a:lnTo>
                    <a:pt x="189" y="153"/>
                  </a:lnTo>
                  <a:lnTo>
                    <a:pt x="182" y="166"/>
                  </a:lnTo>
                  <a:lnTo>
                    <a:pt x="173" y="176"/>
                  </a:lnTo>
                  <a:lnTo>
                    <a:pt x="162" y="186"/>
                  </a:lnTo>
                  <a:lnTo>
                    <a:pt x="149" y="192"/>
                  </a:lnTo>
                  <a:lnTo>
                    <a:pt x="134" y="196"/>
                  </a:lnTo>
                  <a:lnTo>
                    <a:pt x="120" y="197"/>
                  </a:lnTo>
                  <a:lnTo>
                    <a:pt x="120" y="197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3" name="Freeform 19"/>
            <p:cNvSpPr>
              <a:spLocks/>
            </p:cNvSpPr>
            <p:nvPr userDrawn="1"/>
          </p:nvSpPr>
          <p:spPr bwMode="auto">
            <a:xfrm>
              <a:off x="4527757" y="2056142"/>
              <a:ext cx="344678" cy="141926"/>
            </a:xfrm>
            <a:custGeom>
              <a:avLst/>
              <a:gdLst>
                <a:gd name="T0" fmla="*/ 561 w 561"/>
                <a:gd name="T1" fmla="*/ 233 h 233"/>
                <a:gd name="T2" fmla="*/ 0 w 561"/>
                <a:gd name="T3" fmla="*/ 233 h 233"/>
                <a:gd name="T4" fmla="*/ 0 w 561"/>
                <a:gd name="T5" fmla="*/ 0 h 233"/>
                <a:gd name="T6" fmla="*/ 0 w 561"/>
                <a:gd name="T7" fmla="*/ 0 h 233"/>
                <a:gd name="T8" fmla="*/ 120 w 561"/>
                <a:gd name="T9" fmla="*/ 0 h 233"/>
                <a:gd name="T10" fmla="*/ 120 w 561"/>
                <a:gd name="T11" fmla="*/ 0 h 233"/>
                <a:gd name="T12" fmla="*/ 326 w 561"/>
                <a:gd name="T13" fmla="*/ 0 h 233"/>
                <a:gd name="T14" fmla="*/ 326 w 561"/>
                <a:gd name="T15" fmla="*/ 0 h 233"/>
                <a:gd name="T16" fmla="*/ 339 w 561"/>
                <a:gd name="T17" fmla="*/ 1 h 233"/>
                <a:gd name="T18" fmla="*/ 350 w 561"/>
                <a:gd name="T19" fmla="*/ 3 h 233"/>
                <a:gd name="T20" fmla="*/ 375 w 561"/>
                <a:gd name="T21" fmla="*/ 7 h 233"/>
                <a:gd name="T22" fmla="*/ 399 w 561"/>
                <a:gd name="T23" fmla="*/ 16 h 233"/>
                <a:gd name="T24" fmla="*/ 421 w 561"/>
                <a:gd name="T25" fmla="*/ 26 h 233"/>
                <a:gd name="T26" fmla="*/ 442 w 561"/>
                <a:gd name="T27" fmla="*/ 39 h 233"/>
                <a:gd name="T28" fmla="*/ 462 w 561"/>
                <a:gd name="T29" fmla="*/ 54 h 233"/>
                <a:gd name="T30" fmla="*/ 481 w 561"/>
                <a:gd name="T31" fmla="*/ 71 h 233"/>
                <a:gd name="T32" fmla="*/ 499 w 561"/>
                <a:gd name="T33" fmla="*/ 89 h 233"/>
                <a:gd name="T34" fmla="*/ 499 w 561"/>
                <a:gd name="T35" fmla="*/ 89 h 233"/>
                <a:gd name="T36" fmla="*/ 512 w 561"/>
                <a:gd name="T37" fmla="*/ 106 h 233"/>
                <a:gd name="T38" fmla="*/ 525 w 561"/>
                <a:gd name="T39" fmla="*/ 124 h 233"/>
                <a:gd name="T40" fmla="*/ 535 w 561"/>
                <a:gd name="T41" fmla="*/ 143 h 233"/>
                <a:gd name="T42" fmla="*/ 545 w 561"/>
                <a:gd name="T43" fmla="*/ 162 h 233"/>
                <a:gd name="T44" fmla="*/ 551 w 561"/>
                <a:gd name="T45" fmla="*/ 180 h 233"/>
                <a:gd name="T46" fmla="*/ 556 w 561"/>
                <a:gd name="T47" fmla="*/ 199 h 233"/>
                <a:gd name="T48" fmla="*/ 559 w 561"/>
                <a:gd name="T49" fmla="*/ 216 h 233"/>
                <a:gd name="T50" fmla="*/ 561 w 561"/>
                <a:gd name="T51" fmla="*/ 233 h 233"/>
                <a:gd name="T52" fmla="*/ 561 w 561"/>
                <a:gd name="T53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61" h="233">
                  <a:moveTo>
                    <a:pt x="561" y="233"/>
                  </a:moveTo>
                  <a:lnTo>
                    <a:pt x="0" y="233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326" y="0"/>
                  </a:lnTo>
                  <a:lnTo>
                    <a:pt x="326" y="0"/>
                  </a:lnTo>
                  <a:lnTo>
                    <a:pt x="339" y="1"/>
                  </a:lnTo>
                  <a:lnTo>
                    <a:pt x="350" y="3"/>
                  </a:lnTo>
                  <a:lnTo>
                    <a:pt x="375" y="7"/>
                  </a:lnTo>
                  <a:lnTo>
                    <a:pt x="399" y="16"/>
                  </a:lnTo>
                  <a:lnTo>
                    <a:pt x="421" y="26"/>
                  </a:lnTo>
                  <a:lnTo>
                    <a:pt x="442" y="39"/>
                  </a:lnTo>
                  <a:lnTo>
                    <a:pt x="462" y="54"/>
                  </a:lnTo>
                  <a:lnTo>
                    <a:pt x="481" y="71"/>
                  </a:lnTo>
                  <a:lnTo>
                    <a:pt x="499" y="89"/>
                  </a:lnTo>
                  <a:lnTo>
                    <a:pt x="499" y="89"/>
                  </a:lnTo>
                  <a:lnTo>
                    <a:pt x="512" y="106"/>
                  </a:lnTo>
                  <a:lnTo>
                    <a:pt x="525" y="124"/>
                  </a:lnTo>
                  <a:lnTo>
                    <a:pt x="535" y="143"/>
                  </a:lnTo>
                  <a:lnTo>
                    <a:pt x="545" y="162"/>
                  </a:lnTo>
                  <a:lnTo>
                    <a:pt x="551" y="180"/>
                  </a:lnTo>
                  <a:lnTo>
                    <a:pt x="556" y="199"/>
                  </a:lnTo>
                  <a:lnTo>
                    <a:pt x="559" y="216"/>
                  </a:lnTo>
                  <a:lnTo>
                    <a:pt x="561" y="233"/>
                  </a:lnTo>
                  <a:lnTo>
                    <a:pt x="561" y="233"/>
                  </a:lnTo>
                  <a:close/>
                </a:path>
              </a:pathLst>
            </a:custGeom>
            <a:solidFill>
              <a:srgbClr val="C1C1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4" name="Rectangle 20"/>
            <p:cNvSpPr>
              <a:spLocks noChangeArrowheads="1"/>
            </p:cNvSpPr>
            <p:nvPr userDrawn="1"/>
          </p:nvSpPr>
          <p:spPr bwMode="auto">
            <a:xfrm>
              <a:off x="4527757" y="2198069"/>
              <a:ext cx="344678" cy="29491"/>
            </a:xfrm>
            <a:prstGeom prst="rect">
              <a:avLst/>
            </a:prstGeom>
            <a:solidFill>
              <a:srgbClr val="D6D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5" name="Freeform 21"/>
            <p:cNvSpPr>
              <a:spLocks/>
            </p:cNvSpPr>
            <p:nvPr userDrawn="1"/>
          </p:nvSpPr>
          <p:spPr bwMode="auto">
            <a:xfrm>
              <a:off x="4527757" y="1905000"/>
              <a:ext cx="73728" cy="151142"/>
            </a:xfrm>
            <a:custGeom>
              <a:avLst/>
              <a:gdLst>
                <a:gd name="T0" fmla="*/ 0 w 120"/>
                <a:gd name="T1" fmla="*/ 0 h 246"/>
                <a:gd name="T2" fmla="*/ 0 w 120"/>
                <a:gd name="T3" fmla="*/ 49 h 246"/>
                <a:gd name="T4" fmla="*/ 0 w 120"/>
                <a:gd name="T5" fmla="*/ 49 h 246"/>
                <a:gd name="T6" fmla="*/ 14 w 120"/>
                <a:gd name="T7" fmla="*/ 50 h 246"/>
                <a:gd name="T8" fmla="*/ 29 w 120"/>
                <a:gd name="T9" fmla="*/ 54 h 246"/>
                <a:gd name="T10" fmla="*/ 42 w 120"/>
                <a:gd name="T11" fmla="*/ 61 h 246"/>
                <a:gd name="T12" fmla="*/ 53 w 120"/>
                <a:gd name="T13" fmla="*/ 71 h 246"/>
                <a:gd name="T14" fmla="*/ 62 w 120"/>
                <a:gd name="T15" fmla="*/ 81 h 246"/>
                <a:gd name="T16" fmla="*/ 69 w 120"/>
                <a:gd name="T17" fmla="*/ 94 h 246"/>
                <a:gd name="T18" fmla="*/ 73 w 120"/>
                <a:gd name="T19" fmla="*/ 109 h 246"/>
                <a:gd name="T20" fmla="*/ 75 w 120"/>
                <a:gd name="T21" fmla="*/ 123 h 246"/>
                <a:gd name="T22" fmla="*/ 75 w 120"/>
                <a:gd name="T23" fmla="*/ 123 h 246"/>
                <a:gd name="T24" fmla="*/ 73 w 120"/>
                <a:gd name="T25" fmla="*/ 139 h 246"/>
                <a:gd name="T26" fmla="*/ 69 w 120"/>
                <a:gd name="T27" fmla="*/ 153 h 246"/>
                <a:gd name="T28" fmla="*/ 62 w 120"/>
                <a:gd name="T29" fmla="*/ 164 h 246"/>
                <a:gd name="T30" fmla="*/ 53 w 120"/>
                <a:gd name="T31" fmla="*/ 176 h 246"/>
                <a:gd name="T32" fmla="*/ 42 w 120"/>
                <a:gd name="T33" fmla="*/ 184 h 246"/>
                <a:gd name="T34" fmla="*/ 29 w 120"/>
                <a:gd name="T35" fmla="*/ 192 h 246"/>
                <a:gd name="T36" fmla="*/ 14 w 120"/>
                <a:gd name="T37" fmla="*/ 196 h 246"/>
                <a:gd name="T38" fmla="*/ 0 w 120"/>
                <a:gd name="T39" fmla="*/ 197 h 246"/>
                <a:gd name="T40" fmla="*/ 0 w 120"/>
                <a:gd name="T41" fmla="*/ 246 h 246"/>
                <a:gd name="T42" fmla="*/ 0 w 120"/>
                <a:gd name="T43" fmla="*/ 246 h 246"/>
                <a:gd name="T44" fmla="*/ 120 w 120"/>
                <a:gd name="T45" fmla="*/ 246 h 246"/>
                <a:gd name="T46" fmla="*/ 120 w 120"/>
                <a:gd name="T47" fmla="*/ 246 h 246"/>
                <a:gd name="T48" fmla="*/ 120 w 120"/>
                <a:gd name="T49" fmla="*/ 123 h 246"/>
                <a:gd name="T50" fmla="*/ 120 w 120"/>
                <a:gd name="T51" fmla="*/ 123 h 246"/>
                <a:gd name="T52" fmla="*/ 119 w 120"/>
                <a:gd name="T53" fmla="*/ 110 h 246"/>
                <a:gd name="T54" fmla="*/ 117 w 120"/>
                <a:gd name="T55" fmla="*/ 99 h 246"/>
                <a:gd name="T56" fmla="*/ 115 w 120"/>
                <a:gd name="T57" fmla="*/ 86 h 246"/>
                <a:gd name="T58" fmla="*/ 110 w 120"/>
                <a:gd name="T59" fmla="*/ 74 h 246"/>
                <a:gd name="T60" fmla="*/ 106 w 120"/>
                <a:gd name="T61" fmla="*/ 64 h 246"/>
                <a:gd name="T62" fmla="*/ 100 w 120"/>
                <a:gd name="T63" fmla="*/ 54 h 246"/>
                <a:gd name="T64" fmla="*/ 93 w 120"/>
                <a:gd name="T65" fmla="*/ 44 h 246"/>
                <a:gd name="T66" fmla="*/ 86 w 120"/>
                <a:gd name="T67" fmla="*/ 36 h 246"/>
                <a:gd name="T68" fmla="*/ 77 w 120"/>
                <a:gd name="T69" fmla="*/ 27 h 246"/>
                <a:gd name="T70" fmla="*/ 67 w 120"/>
                <a:gd name="T71" fmla="*/ 20 h 246"/>
                <a:gd name="T72" fmla="*/ 57 w 120"/>
                <a:gd name="T73" fmla="*/ 14 h 246"/>
                <a:gd name="T74" fmla="*/ 47 w 120"/>
                <a:gd name="T75" fmla="*/ 9 h 246"/>
                <a:gd name="T76" fmla="*/ 36 w 120"/>
                <a:gd name="T77" fmla="*/ 4 h 246"/>
                <a:gd name="T78" fmla="*/ 25 w 120"/>
                <a:gd name="T79" fmla="*/ 1 h 246"/>
                <a:gd name="T80" fmla="*/ 13 w 120"/>
                <a:gd name="T81" fmla="*/ 0 h 246"/>
                <a:gd name="T82" fmla="*/ 0 w 120"/>
                <a:gd name="T83" fmla="*/ 0 h 246"/>
                <a:gd name="T84" fmla="*/ 0 w 120"/>
                <a:gd name="T85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" h="246">
                  <a:moveTo>
                    <a:pt x="0" y="0"/>
                  </a:moveTo>
                  <a:lnTo>
                    <a:pt x="0" y="49"/>
                  </a:lnTo>
                  <a:lnTo>
                    <a:pt x="0" y="49"/>
                  </a:lnTo>
                  <a:lnTo>
                    <a:pt x="14" y="50"/>
                  </a:lnTo>
                  <a:lnTo>
                    <a:pt x="29" y="54"/>
                  </a:lnTo>
                  <a:lnTo>
                    <a:pt x="42" y="61"/>
                  </a:lnTo>
                  <a:lnTo>
                    <a:pt x="53" y="71"/>
                  </a:lnTo>
                  <a:lnTo>
                    <a:pt x="62" y="81"/>
                  </a:lnTo>
                  <a:lnTo>
                    <a:pt x="69" y="94"/>
                  </a:lnTo>
                  <a:lnTo>
                    <a:pt x="73" y="109"/>
                  </a:lnTo>
                  <a:lnTo>
                    <a:pt x="75" y="123"/>
                  </a:lnTo>
                  <a:lnTo>
                    <a:pt x="75" y="123"/>
                  </a:lnTo>
                  <a:lnTo>
                    <a:pt x="73" y="139"/>
                  </a:lnTo>
                  <a:lnTo>
                    <a:pt x="69" y="153"/>
                  </a:lnTo>
                  <a:lnTo>
                    <a:pt x="62" y="164"/>
                  </a:lnTo>
                  <a:lnTo>
                    <a:pt x="53" y="176"/>
                  </a:lnTo>
                  <a:lnTo>
                    <a:pt x="42" y="184"/>
                  </a:lnTo>
                  <a:lnTo>
                    <a:pt x="29" y="192"/>
                  </a:lnTo>
                  <a:lnTo>
                    <a:pt x="14" y="196"/>
                  </a:lnTo>
                  <a:lnTo>
                    <a:pt x="0" y="197"/>
                  </a:lnTo>
                  <a:lnTo>
                    <a:pt x="0" y="246"/>
                  </a:lnTo>
                  <a:lnTo>
                    <a:pt x="0" y="246"/>
                  </a:lnTo>
                  <a:lnTo>
                    <a:pt x="120" y="246"/>
                  </a:lnTo>
                  <a:lnTo>
                    <a:pt x="120" y="246"/>
                  </a:lnTo>
                  <a:lnTo>
                    <a:pt x="120" y="123"/>
                  </a:lnTo>
                  <a:lnTo>
                    <a:pt x="120" y="123"/>
                  </a:lnTo>
                  <a:lnTo>
                    <a:pt x="119" y="110"/>
                  </a:lnTo>
                  <a:lnTo>
                    <a:pt x="117" y="99"/>
                  </a:lnTo>
                  <a:lnTo>
                    <a:pt x="115" y="86"/>
                  </a:lnTo>
                  <a:lnTo>
                    <a:pt x="110" y="74"/>
                  </a:lnTo>
                  <a:lnTo>
                    <a:pt x="106" y="64"/>
                  </a:lnTo>
                  <a:lnTo>
                    <a:pt x="100" y="54"/>
                  </a:lnTo>
                  <a:lnTo>
                    <a:pt x="93" y="44"/>
                  </a:lnTo>
                  <a:lnTo>
                    <a:pt x="86" y="36"/>
                  </a:lnTo>
                  <a:lnTo>
                    <a:pt x="77" y="27"/>
                  </a:lnTo>
                  <a:lnTo>
                    <a:pt x="67" y="20"/>
                  </a:lnTo>
                  <a:lnTo>
                    <a:pt x="57" y="14"/>
                  </a:lnTo>
                  <a:lnTo>
                    <a:pt x="47" y="9"/>
                  </a:lnTo>
                  <a:lnTo>
                    <a:pt x="36" y="4"/>
                  </a:lnTo>
                  <a:lnTo>
                    <a:pt x="25" y="1"/>
                  </a:lnTo>
                  <a:lnTo>
                    <a:pt x="1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1C1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6" name="Freeform 22"/>
            <p:cNvSpPr>
              <a:spLocks noEditPoints="1"/>
            </p:cNvSpPr>
            <p:nvPr userDrawn="1"/>
          </p:nvSpPr>
          <p:spPr bwMode="auto">
            <a:xfrm>
              <a:off x="4103822" y="2544590"/>
              <a:ext cx="158515" cy="167731"/>
            </a:xfrm>
            <a:custGeom>
              <a:avLst/>
              <a:gdLst>
                <a:gd name="T0" fmla="*/ 258 w 258"/>
                <a:gd name="T1" fmla="*/ 273 h 273"/>
                <a:gd name="T2" fmla="*/ 0 w 258"/>
                <a:gd name="T3" fmla="*/ 273 h 273"/>
                <a:gd name="T4" fmla="*/ 0 w 258"/>
                <a:gd name="T5" fmla="*/ 0 h 273"/>
                <a:gd name="T6" fmla="*/ 258 w 258"/>
                <a:gd name="T7" fmla="*/ 0 h 273"/>
                <a:gd name="T8" fmla="*/ 258 w 258"/>
                <a:gd name="T9" fmla="*/ 273 h 273"/>
                <a:gd name="T10" fmla="*/ 258 w 258"/>
                <a:gd name="T11" fmla="*/ 273 h 273"/>
                <a:gd name="T12" fmla="*/ 258 w 258"/>
                <a:gd name="T13" fmla="*/ 273 h 273"/>
                <a:gd name="T14" fmla="*/ 25 w 258"/>
                <a:gd name="T15" fmla="*/ 249 h 273"/>
                <a:gd name="T16" fmla="*/ 233 w 258"/>
                <a:gd name="T17" fmla="*/ 249 h 273"/>
                <a:gd name="T18" fmla="*/ 233 w 258"/>
                <a:gd name="T19" fmla="*/ 26 h 273"/>
                <a:gd name="T20" fmla="*/ 25 w 258"/>
                <a:gd name="T21" fmla="*/ 26 h 273"/>
                <a:gd name="T22" fmla="*/ 25 w 258"/>
                <a:gd name="T23" fmla="*/ 249 h 273"/>
                <a:gd name="T24" fmla="*/ 25 w 258"/>
                <a:gd name="T25" fmla="*/ 249 h 273"/>
                <a:gd name="T26" fmla="*/ 25 w 258"/>
                <a:gd name="T27" fmla="*/ 249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8" h="273">
                  <a:moveTo>
                    <a:pt x="258" y="273"/>
                  </a:moveTo>
                  <a:lnTo>
                    <a:pt x="0" y="273"/>
                  </a:lnTo>
                  <a:lnTo>
                    <a:pt x="0" y="0"/>
                  </a:lnTo>
                  <a:lnTo>
                    <a:pt x="258" y="0"/>
                  </a:lnTo>
                  <a:lnTo>
                    <a:pt x="258" y="273"/>
                  </a:lnTo>
                  <a:lnTo>
                    <a:pt x="258" y="273"/>
                  </a:lnTo>
                  <a:lnTo>
                    <a:pt x="258" y="273"/>
                  </a:lnTo>
                  <a:close/>
                  <a:moveTo>
                    <a:pt x="25" y="249"/>
                  </a:moveTo>
                  <a:lnTo>
                    <a:pt x="233" y="249"/>
                  </a:lnTo>
                  <a:lnTo>
                    <a:pt x="233" y="26"/>
                  </a:lnTo>
                  <a:lnTo>
                    <a:pt x="25" y="26"/>
                  </a:lnTo>
                  <a:lnTo>
                    <a:pt x="25" y="249"/>
                  </a:lnTo>
                  <a:lnTo>
                    <a:pt x="25" y="249"/>
                  </a:lnTo>
                  <a:lnTo>
                    <a:pt x="25" y="249"/>
                  </a:lnTo>
                  <a:close/>
                </a:path>
              </a:pathLst>
            </a:custGeom>
            <a:solidFill>
              <a:srgbClr val="494C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7" name="Freeform 23"/>
            <p:cNvSpPr>
              <a:spLocks/>
            </p:cNvSpPr>
            <p:nvPr userDrawn="1"/>
          </p:nvSpPr>
          <p:spPr bwMode="auto">
            <a:xfrm>
              <a:off x="4406106" y="2623847"/>
              <a:ext cx="560332" cy="20275"/>
            </a:xfrm>
            <a:custGeom>
              <a:avLst/>
              <a:gdLst>
                <a:gd name="T0" fmla="*/ 0 w 914"/>
                <a:gd name="T1" fmla="*/ 0 h 33"/>
                <a:gd name="T2" fmla="*/ 914 w 914"/>
                <a:gd name="T3" fmla="*/ 0 h 33"/>
                <a:gd name="T4" fmla="*/ 914 w 914"/>
                <a:gd name="T5" fmla="*/ 33 h 33"/>
                <a:gd name="T6" fmla="*/ 0 w 914"/>
                <a:gd name="T7" fmla="*/ 33 h 33"/>
                <a:gd name="T8" fmla="*/ 0 w 914"/>
                <a:gd name="T9" fmla="*/ 0 h 33"/>
                <a:gd name="T10" fmla="*/ 0 w 914"/>
                <a:gd name="T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4" h="33">
                  <a:moveTo>
                    <a:pt x="0" y="0"/>
                  </a:moveTo>
                  <a:lnTo>
                    <a:pt x="914" y="0"/>
                  </a:lnTo>
                  <a:lnTo>
                    <a:pt x="914" y="33"/>
                  </a:lnTo>
                  <a:lnTo>
                    <a:pt x="0" y="3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94C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8" name="Freeform 24"/>
            <p:cNvSpPr>
              <a:spLocks/>
            </p:cNvSpPr>
            <p:nvPr userDrawn="1"/>
          </p:nvSpPr>
          <p:spPr bwMode="auto">
            <a:xfrm>
              <a:off x="4406106" y="2695732"/>
              <a:ext cx="560332" cy="18432"/>
            </a:xfrm>
            <a:custGeom>
              <a:avLst/>
              <a:gdLst>
                <a:gd name="T0" fmla="*/ 0 w 914"/>
                <a:gd name="T1" fmla="*/ 0 h 30"/>
                <a:gd name="T2" fmla="*/ 914 w 914"/>
                <a:gd name="T3" fmla="*/ 0 h 30"/>
                <a:gd name="T4" fmla="*/ 914 w 914"/>
                <a:gd name="T5" fmla="*/ 30 h 30"/>
                <a:gd name="T6" fmla="*/ 0 w 914"/>
                <a:gd name="T7" fmla="*/ 30 h 30"/>
                <a:gd name="T8" fmla="*/ 0 w 914"/>
                <a:gd name="T9" fmla="*/ 0 h 30"/>
                <a:gd name="T10" fmla="*/ 0 w 914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4" h="30">
                  <a:moveTo>
                    <a:pt x="0" y="0"/>
                  </a:moveTo>
                  <a:lnTo>
                    <a:pt x="914" y="0"/>
                  </a:lnTo>
                  <a:lnTo>
                    <a:pt x="914" y="30"/>
                  </a:lnTo>
                  <a:lnTo>
                    <a:pt x="0" y="3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94C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9" name="Freeform 25"/>
            <p:cNvSpPr>
              <a:spLocks/>
            </p:cNvSpPr>
            <p:nvPr userDrawn="1"/>
          </p:nvSpPr>
          <p:spPr bwMode="auto">
            <a:xfrm>
              <a:off x="4406106" y="2544590"/>
              <a:ext cx="280166" cy="18432"/>
            </a:xfrm>
            <a:custGeom>
              <a:avLst/>
              <a:gdLst>
                <a:gd name="T0" fmla="*/ 0 w 458"/>
                <a:gd name="T1" fmla="*/ 0 h 30"/>
                <a:gd name="T2" fmla="*/ 458 w 458"/>
                <a:gd name="T3" fmla="*/ 0 h 30"/>
                <a:gd name="T4" fmla="*/ 458 w 458"/>
                <a:gd name="T5" fmla="*/ 30 h 30"/>
                <a:gd name="T6" fmla="*/ 0 w 458"/>
                <a:gd name="T7" fmla="*/ 30 h 30"/>
                <a:gd name="T8" fmla="*/ 0 w 458"/>
                <a:gd name="T9" fmla="*/ 0 h 30"/>
                <a:gd name="T10" fmla="*/ 0 w 4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8" h="30">
                  <a:moveTo>
                    <a:pt x="0" y="0"/>
                  </a:moveTo>
                  <a:lnTo>
                    <a:pt x="458" y="0"/>
                  </a:lnTo>
                  <a:lnTo>
                    <a:pt x="458" y="30"/>
                  </a:lnTo>
                  <a:lnTo>
                    <a:pt x="0" y="3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94C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0" name="Freeform 26"/>
            <p:cNvSpPr>
              <a:spLocks/>
            </p:cNvSpPr>
            <p:nvPr userDrawn="1"/>
          </p:nvSpPr>
          <p:spPr bwMode="auto">
            <a:xfrm>
              <a:off x="4122254" y="2485608"/>
              <a:ext cx="226713" cy="180633"/>
            </a:xfrm>
            <a:custGeom>
              <a:avLst/>
              <a:gdLst>
                <a:gd name="T0" fmla="*/ 104 w 367"/>
                <a:gd name="T1" fmla="*/ 295 h 295"/>
                <a:gd name="T2" fmla="*/ 104 w 367"/>
                <a:gd name="T3" fmla="*/ 295 h 295"/>
                <a:gd name="T4" fmla="*/ 97 w 367"/>
                <a:gd name="T5" fmla="*/ 293 h 295"/>
                <a:gd name="T6" fmla="*/ 91 w 367"/>
                <a:gd name="T7" fmla="*/ 293 h 295"/>
                <a:gd name="T8" fmla="*/ 85 w 367"/>
                <a:gd name="T9" fmla="*/ 292 h 295"/>
                <a:gd name="T10" fmla="*/ 81 w 367"/>
                <a:gd name="T11" fmla="*/ 288 h 295"/>
                <a:gd name="T12" fmla="*/ 81 w 367"/>
                <a:gd name="T13" fmla="*/ 288 h 295"/>
                <a:gd name="T14" fmla="*/ 10 w 367"/>
                <a:gd name="T15" fmla="*/ 213 h 295"/>
                <a:gd name="T16" fmla="*/ 10 w 367"/>
                <a:gd name="T17" fmla="*/ 213 h 295"/>
                <a:gd name="T18" fmla="*/ 5 w 367"/>
                <a:gd name="T19" fmla="*/ 209 h 295"/>
                <a:gd name="T20" fmla="*/ 1 w 367"/>
                <a:gd name="T21" fmla="*/ 203 h 295"/>
                <a:gd name="T22" fmla="*/ 0 w 367"/>
                <a:gd name="T23" fmla="*/ 199 h 295"/>
                <a:gd name="T24" fmla="*/ 0 w 367"/>
                <a:gd name="T25" fmla="*/ 193 h 295"/>
                <a:gd name="T26" fmla="*/ 0 w 367"/>
                <a:gd name="T27" fmla="*/ 187 h 295"/>
                <a:gd name="T28" fmla="*/ 1 w 367"/>
                <a:gd name="T29" fmla="*/ 182 h 295"/>
                <a:gd name="T30" fmla="*/ 5 w 367"/>
                <a:gd name="T31" fmla="*/ 177 h 295"/>
                <a:gd name="T32" fmla="*/ 10 w 367"/>
                <a:gd name="T33" fmla="*/ 173 h 295"/>
                <a:gd name="T34" fmla="*/ 10 w 367"/>
                <a:gd name="T35" fmla="*/ 173 h 295"/>
                <a:gd name="T36" fmla="*/ 13 w 367"/>
                <a:gd name="T37" fmla="*/ 169 h 295"/>
                <a:gd name="T38" fmla="*/ 18 w 367"/>
                <a:gd name="T39" fmla="*/ 166 h 295"/>
                <a:gd name="T40" fmla="*/ 23 w 367"/>
                <a:gd name="T41" fmla="*/ 165 h 295"/>
                <a:gd name="T42" fmla="*/ 28 w 367"/>
                <a:gd name="T43" fmla="*/ 163 h 295"/>
                <a:gd name="T44" fmla="*/ 34 w 367"/>
                <a:gd name="T45" fmla="*/ 165 h 295"/>
                <a:gd name="T46" fmla="*/ 40 w 367"/>
                <a:gd name="T47" fmla="*/ 166 h 295"/>
                <a:gd name="T48" fmla="*/ 44 w 367"/>
                <a:gd name="T49" fmla="*/ 169 h 295"/>
                <a:gd name="T50" fmla="*/ 48 w 367"/>
                <a:gd name="T51" fmla="*/ 173 h 295"/>
                <a:gd name="T52" fmla="*/ 48 w 367"/>
                <a:gd name="T53" fmla="*/ 173 h 295"/>
                <a:gd name="T54" fmla="*/ 104 w 367"/>
                <a:gd name="T55" fmla="*/ 226 h 295"/>
                <a:gd name="T56" fmla="*/ 104 w 367"/>
                <a:gd name="T57" fmla="*/ 226 h 295"/>
                <a:gd name="T58" fmla="*/ 318 w 367"/>
                <a:gd name="T59" fmla="*/ 10 h 295"/>
                <a:gd name="T60" fmla="*/ 318 w 367"/>
                <a:gd name="T61" fmla="*/ 10 h 295"/>
                <a:gd name="T62" fmla="*/ 321 w 367"/>
                <a:gd name="T63" fmla="*/ 6 h 295"/>
                <a:gd name="T64" fmla="*/ 327 w 367"/>
                <a:gd name="T65" fmla="*/ 3 h 295"/>
                <a:gd name="T66" fmla="*/ 331 w 367"/>
                <a:gd name="T67" fmla="*/ 2 h 295"/>
                <a:gd name="T68" fmla="*/ 337 w 367"/>
                <a:gd name="T69" fmla="*/ 0 h 295"/>
                <a:gd name="T70" fmla="*/ 343 w 367"/>
                <a:gd name="T71" fmla="*/ 2 h 295"/>
                <a:gd name="T72" fmla="*/ 349 w 367"/>
                <a:gd name="T73" fmla="*/ 3 h 295"/>
                <a:gd name="T74" fmla="*/ 353 w 367"/>
                <a:gd name="T75" fmla="*/ 6 h 295"/>
                <a:gd name="T76" fmla="*/ 357 w 367"/>
                <a:gd name="T77" fmla="*/ 10 h 295"/>
                <a:gd name="T78" fmla="*/ 357 w 367"/>
                <a:gd name="T79" fmla="*/ 10 h 295"/>
                <a:gd name="T80" fmla="*/ 361 w 367"/>
                <a:gd name="T81" fmla="*/ 14 h 295"/>
                <a:gd name="T82" fmla="*/ 364 w 367"/>
                <a:gd name="T83" fmla="*/ 20 h 295"/>
                <a:gd name="T84" fmla="*/ 366 w 367"/>
                <a:gd name="T85" fmla="*/ 24 h 295"/>
                <a:gd name="T86" fmla="*/ 367 w 367"/>
                <a:gd name="T87" fmla="*/ 30 h 295"/>
                <a:gd name="T88" fmla="*/ 366 w 367"/>
                <a:gd name="T89" fmla="*/ 36 h 295"/>
                <a:gd name="T90" fmla="*/ 364 w 367"/>
                <a:gd name="T91" fmla="*/ 42 h 295"/>
                <a:gd name="T92" fmla="*/ 361 w 367"/>
                <a:gd name="T93" fmla="*/ 47 h 295"/>
                <a:gd name="T94" fmla="*/ 357 w 367"/>
                <a:gd name="T95" fmla="*/ 53 h 295"/>
                <a:gd name="T96" fmla="*/ 357 w 367"/>
                <a:gd name="T97" fmla="*/ 53 h 295"/>
                <a:gd name="T98" fmla="*/ 123 w 367"/>
                <a:gd name="T99" fmla="*/ 288 h 295"/>
                <a:gd name="T100" fmla="*/ 123 w 367"/>
                <a:gd name="T101" fmla="*/ 288 h 295"/>
                <a:gd name="T102" fmla="*/ 118 w 367"/>
                <a:gd name="T103" fmla="*/ 292 h 295"/>
                <a:gd name="T104" fmla="*/ 113 w 367"/>
                <a:gd name="T105" fmla="*/ 293 h 295"/>
                <a:gd name="T106" fmla="*/ 104 w 367"/>
                <a:gd name="T107" fmla="*/ 295 h 295"/>
                <a:gd name="T108" fmla="*/ 104 w 367"/>
                <a:gd name="T109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7" h="295">
                  <a:moveTo>
                    <a:pt x="104" y="295"/>
                  </a:moveTo>
                  <a:lnTo>
                    <a:pt x="104" y="295"/>
                  </a:lnTo>
                  <a:lnTo>
                    <a:pt x="97" y="293"/>
                  </a:lnTo>
                  <a:lnTo>
                    <a:pt x="91" y="293"/>
                  </a:lnTo>
                  <a:lnTo>
                    <a:pt x="85" y="292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10" y="213"/>
                  </a:lnTo>
                  <a:lnTo>
                    <a:pt x="10" y="213"/>
                  </a:lnTo>
                  <a:lnTo>
                    <a:pt x="5" y="209"/>
                  </a:lnTo>
                  <a:lnTo>
                    <a:pt x="1" y="203"/>
                  </a:lnTo>
                  <a:lnTo>
                    <a:pt x="0" y="199"/>
                  </a:lnTo>
                  <a:lnTo>
                    <a:pt x="0" y="193"/>
                  </a:lnTo>
                  <a:lnTo>
                    <a:pt x="0" y="187"/>
                  </a:lnTo>
                  <a:lnTo>
                    <a:pt x="1" y="182"/>
                  </a:lnTo>
                  <a:lnTo>
                    <a:pt x="5" y="177"/>
                  </a:lnTo>
                  <a:lnTo>
                    <a:pt x="10" y="173"/>
                  </a:lnTo>
                  <a:lnTo>
                    <a:pt x="10" y="173"/>
                  </a:lnTo>
                  <a:lnTo>
                    <a:pt x="13" y="169"/>
                  </a:lnTo>
                  <a:lnTo>
                    <a:pt x="18" y="166"/>
                  </a:lnTo>
                  <a:lnTo>
                    <a:pt x="23" y="165"/>
                  </a:lnTo>
                  <a:lnTo>
                    <a:pt x="28" y="163"/>
                  </a:lnTo>
                  <a:lnTo>
                    <a:pt x="34" y="165"/>
                  </a:lnTo>
                  <a:lnTo>
                    <a:pt x="40" y="166"/>
                  </a:lnTo>
                  <a:lnTo>
                    <a:pt x="44" y="169"/>
                  </a:lnTo>
                  <a:lnTo>
                    <a:pt x="48" y="173"/>
                  </a:lnTo>
                  <a:lnTo>
                    <a:pt x="48" y="173"/>
                  </a:lnTo>
                  <a:lnTo>
                    <a:pt x="104" y="226"/>
                  </a:lnTo>
                  <a:lnTo>
                    <a:pt x="104" y="226"/>
                  </a:lnTo>
                  <a:lnTo>
                    <a:pt x="318" y="10"/>
                  </a:lnTo>
                  <a:lnTo>
                    <a:pt x="318" y="10"/>
                  </a:lnTo>
                  <a:lnTo>
                    <a:pt x="321" y="6"/>
                  </a:lnTo>
                  <a:lnTo>
                    <a:pt x="327" y="3"/>
                  </a:lnTo>
                  <a:lnTo>
                    <a:pt x="331" y="2"/>
                  </a:lnTo>
                  <a:lnTo>
                    <a:pt x="337" y="0"/>
                  </a:lnTo>
                  <a:lnTo>
                    <a:pt x="343" y="2"/>
                  </a:lnTo>
                  <a:lnTo>
                    <a:pt x="349" y="3"/>
                  </a:lnTo>
                  <a:lnTo>
                    <a:pt x="353" y="6"/>
                  </a:lnTo>
                  <a:lnTo>
                    <a:pt x="357" y="10"/>
                  </a:lnTo>
                  <a:lnTo>
                    <a:pt x="357" y="10"/>
                  </a:lnTo>
                  <a:lnTo>
                    <a:pt x="361" y="14"/>
                  </a:lnTo>
                  <a:lnTo>
                    <a:pt x="364" y="20"/>
                  </a:lnTo>
                  <a:lnTo>
                    <a:pt x="366" y="24"/>
                  </a:lnTo>
                  <a:lnTo>
                    <a:pt x="367" y="30"/>
                  </a:lnTo>
                  <a:lnTo>
                    <a:pt x="366" y="36"/>
                  </a:lnTo>
                  <a:lnTo>
                    <a:pt x="364" y="42"/>
                  </a:lnTo>
                  <a:lnTo>
                    <a:pt x="361" y="47"/>
                  </a:lnTo>
                  <a:lnTo>
                    <a:pt x="357" y="53"/>
                  </a:lnTo>
                  <a:lnTo>
                    <a:pt x="357" y="53"/>
                  </a:lnTo>
                  <a:lnTo>
                    <a:pt x="123" y="288"/>
                  </a:lnTo>
                  <a:lnTo>
                    <a:pt x="123" y="288"/>
                  </a:lnTo>
                  <a:lnTo>
                    <a:pt x="118" y="292"/>
                  </a:lnTo>
                  <a:lnTo>
                    <a:pt x="113" y="293"/>
                  </a:lnTo>
                  <a:lnTo>
                    <a:pt x="104" y="295"/>
                  </a:lnTo>
                  <a:lnTo>
                    <a:pt x="104" y="295"/>
                  </a:lnTo>
                  <a:close/>
                </a:path>
              </a:pathLst>
            </a:custGeom>
            <a:solidFill>
              <a:srgbClr val="FA75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1" name="Freeform 27"/>
            <p:cNvSpPr>
              <a:spLocks noEditPoints="1"/>
            </p:cNvSpPr>
            <p:nvPr userDrawn="1"/>
          </p:nvSpPr>
          <p:spPr bwMode="auto">
            <a:xfrm>
              <a:off x="4103822" y="2824756"/>
              <a:ext cx="158515" cy="167731"/>
            </a:xfrm>
            <a:custGeom>
              <a:avLst/>
              <a:gdLst>
                <a:gd name="T0" fmla="*/ 258 w 258"/>
                <a:gd name="T1" fmla="*/ 273 h 273"/>
                <a:gd name="T2" fmla="*/ 0 w 258"/>
                <a:gd name="T3" fmla="*/ 273 h 273"/>
                <a:gd name="T4" fmla="*/ 0 w 258"/>
                <a:gd name="T5" fmla="*/ 0 h 273"/>
                <a:gd name="T6" fmla="*/ 258 w 258"/>
                <a:gd name="T7" fmla="*/ 0 h 273"/>
                <a:gd name="T8" fmla="*/ 258 w 258"/>
                <a:gd name="T9" fmla="*/ 273 h 273"/>
                <a:gd name="T10" fmla="*/ 258 w 258"/>
                <a:gd name="T11" fmla="*/ 273 h 273"/>
                <a:gd name="T12" fmla="*/ 258 w 258"/>
                <a:gd name="T13" fmla="*/ 273 h 273"/>
                <a:gd name="T14" fmla="*/ 25 w 258"/>
                <a:gd name="T15" fmla="*/ 247 h 273"/>
                <a:gd name="T16" fmla="*/ 233 w 258"/>
                <a:gd name="T17" fmla="*/ 247 h 273"/>
                <a:gd name="T18" fmla="*/ 233 w 258"/>
                <a:gd name="T19" fmla="*/ 26 h 273"/>
                <a:gd name="T20" fmla="*/ 25 w 258"/>
                <a:gd name="T21" fmla="*/ 26 h 273"/>
                <a:gd name="T22" fmla="*/ 25 w 258"/>
                <a:gd name="T23" fmla="*/ 247 h 273"/>
                <a:gd name="T24" fmla="*/ 25 w 258"/>
                <a:gd name="T25" fmla="*/ 247 h 273"/>
                <a:gd name="T26" fmla="*/ 25 w 258"/>
                <a:gd name="T27" fmla="*/ 247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8" h="273">
                  <a:moveTo>
                    <a:pt x="258" y="273"/>
                  </a:moveTo>
                  <a:lnTo>
                    <a:pt x="0" y="273"/>
                  </a:lnTo>
                  <a:lnTo>
                    <a:pt x="0" y="0"/>
                  </a:lnTo>
                  <a:lnTo>
                    <a:pt x="258" y="0"/>
                  </a:lnTo>
                  <a:lnTo>
                    <a:pt x="258" y="273"/>
                  </a:lnTo>
                  <a:lnTo>
                    <a:pt x="258" y="273"/>
                  </a:lnTo>
                  <a:lnTo>
                    <a:pt x="258" y="273"/>
                  </a:lnTo>
                  <a:close/>
                  <a:moveTo>
                    <a:pt x="25" y="247"/>
                  </a:moveTo>
                  <a:lnTo>
                    <a:pt x="233" y="247"/>
                  </a:lnTo>
                  <a:lnTo>
                    <a:pt x="233" y="26"/>
                  </a:lnTo>
                  <a:lnTo>
                    <a:pt x="25" y="26"/>
                  </a:lnTo>
                  <a:lnTo>
                    <a:pt x="25" y="247"/>
                  </a:lnTo>
                  <a:lnTo>
                    <a:pt x="25" y="247"/>
                  </a:lnTo>
                  <a:lnTo>
                    <a:pt x="25" y="247"/>
                  </a:lnTo>
                  <a:close/>
                </a:path>
              </a:pathLst>
            </a:custGeom>
            <a:solidFill>
              <a:srgbClr val="494C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2" name="Freeform 28"/>
            <p:cNvSpPr>
              <a:spLocks/>
            </p:cNvSpPr>
            <p:nvPr userDrawn="1"/>
          </p:nvSpPr>
          <p:spPr bwMode="auto">
            <a:xfrm>
              <a:off x="4406106" y="2904014"/>
              <a:ext cx="560332" cy="18432"/>
            </a:xfrm>
            <a:custGeom>
              <a:avLst/>
              <a:gdLst>
                <a:gd name="T0" fmla="*/ 0 w 914"/>
                <a:gd name="T1" fmla="*/ 0 h 31"/>
                <a:gd name="T2" fmla="*/ 914 w 914"/>
                <a:gd name="T3" fmla="*/ 0 h 31"/>
                <a:gd name="T4" fmla="*/ 914 w 914"/>
                <a:gd name="T5" fmla="*/ 31 h 31"/>
                <a:gd name="T6" fmla="*/ 0 w 914"/>
                <a:gd name="T7" fmla="*/ 31 h 31"/>
                <a:gd name="T8" fmla="*/ 0 w 914"/>
                <a:gd name="T9" fmla="*/ 0 h 31"/>
                <a:gd name="T10" fmla="*/ 0 w 914"/>
                <a:gd name="T1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4" h="31">
                  <a:moveTo>
                    <a:pt x="0" y="0"/>
                  </a:moveTo>
                  <a:lnTo>
                    <a:pt x="914" y="0"/>
                  </a:lnTo>
                  <a:lnTo>
                    <a:pt x="914" y="31"/>
                  </a:lnTo>
                  <a:lnTo>
                    <a:pt x="0" y="3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94C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3" name="Freeform 29"/>
            <p:cNvSpPr>
              <a:spLocks/>
            </p:cNvSpPr>
            <p:nvPr userDrawn="1"/>
          </p:nvSpPr>
          <p:spPr bwMode="auto">
            <a:xfrm>
              <a:off x="4406106" y="2975898"/>
              <a:ext cx="560332" cy="18432"/>
            </a:xfrm>
            <a:custGeom>
              <a:avLst/>
              <a:gdLst>
                <a:gd name="T0" fmla="*/ 0 w 914"/>
                <a:gd name="T1" fmla="*/ 0 h 30"/>
                <a:gd name="T2" fmla="*/ 914 w 914"/>
                <a:gd name="T3" fmla="*/ 0 h 30"/>
                <a:gd name="T4" fmla="*/ 914 w 914"/>
                <a:gd name="T5" fmla="*/ 30 h 30"/>
                <a:gd name="T6" fmla="*/ 0 w 914"/>
                <a:gd name="T7" fmla="*/ 30 h 30"/>
                <a:gd name="T8" fmla="*/ 0 w 914"/>
                <a:gd name="T9" fmla="*/ 0 h 30"/>
                <a:gd name="T10" fmla="*/ 0 w 914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4" h="30">
                  <a:moveTo>
                    <a:pt x="0" y="0"/>
                  </a:moveTo>
                  <a:lnTo>
                    <a:pt x="914" y="0"/>
                  </a:lnTo>
                  <a:lnTo>
                    <a:pt x="914" y="30"/>
                  </a:lnTo>
                  <a:lnTo>
                    <a:pt x="0" y="3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94C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4" name="Freeform 30"/>
            <p:cNvSpPr>
              <a:spLocks/>
            </p:cNvSpPr>
            <p:nvPr userDrawn="1"/>
          </p:nvSpPr>
          <p:spPr bwMode="auto">
            <a:xfrm>
              <a:off x="4406106" y="2824756"/>
              <a:ext cx="280166" cy="18432"/>
            </a:xfrm>
            <a:custGeom>
              <a:avLst/>
              <a:gdLst>
                <a:gd name="T0" fmla="*/ 0 w 458"/>
                <a:gd name="T1" fmla="*/ 0 h 30"/>
                <a:gd name="T2" fmla="*/ 458 w 458"/>
                <a:gd name="T3" fmla="*/ 0 h 30"/>
                <a:gd name="T4" fmla="*/ 458 w 458"/>
                <a:gd name="T5" fmla="*/ 30 h 30"/>
                <a:gd name="T6" fmla="*/ 0 w 458"/>
                <a:gd name="T7" fmla="*/ 30 h 30"/>
                <a:gd name="T8" fmla="*/ 0 w 458"/>
                <a:gd name="T9" fmla="*/ 0 h 30"/>
                <a:gd name="T10" fmla="*/ 0 w 4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8" h="30">
                  <a:moveTo>
                    <a:pt x="0" y="0"/>
                  </a:moveTo>
                  <a:lnTo>
                    <a:pt x="458" y="0"/>
                  </a:lnTo>
                  <a:lnTo>
                    <a:pt x="458" y="30"/>
                  </a:lnTo>
                  <a:lnTo>
                    <a:pt x="0" y="3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94C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5" name="Freeform 31"/>
            <p:cNvSpPr>
              <a:spLocks/>
            </p:cNvSpPr>
            <p:nvPr userDrawn="1"/>
          </p:nvSpPr>
          <p:spPr bwMode="auto">
            <a:xfrm>
              <a:off x="4122254" y="2762087"/>
              <a:ext cx="226713" cy="180633"/>
            </a:xfrm>
            <a:custGeom>
              <a:avLst/>
              <a:gdLst>
                <a:gd name="T0" fmla="*/ 104 w 367"/>
                <a:gd name="T1" fmla="*/ 293 h 293"/>
                <a:gd name="T2" fmla="*/ 104 w 367"/>
                <a:gd name="T3" fmla="*/ 293 h 293"/>
                <a:gd name="T4" fmla="*/ 97 w 367"/>
                <a:gd name="T5" fmla="*/ 293 h 293"/>
                <a:gd name="T6" fmla="*/ 91 w 367"/>
                <a:gd name="T7" fmla="*/ 292 h 293"/>
                <a:gd name="T8" fmla="*/ 81 w 367"/>
                <a:gd name="T9" fmla="*/ 286 h 293"/>
                <a:gd name="T10" fmla="*/ 81 w 367"/>
                <a:gd name="T11" fmla="*/ 286 h 293"/>
                <a:gd name="T12" fmla="*/ 10 w 367"/>
                <a:gd name="T13" fmla="*/ 212 h 293"/>
                <a:gd name="T14" fmla="*/ 10 w 367"/>
                <a:gd name="T15" fmla="*/ 212 h 293"/>
                <a:gd name="T16" fmla="*/ 5 w 367"/>
                <a:gd name="T17" fmla="*/ 207 h 293"/>
                <a:gd name="T18" fmla="*/ 1 w 367"/>
                <a:gd name="T19" fmla="*/ 202 h 293"/>
                <a:gd name="T20" fmla="*/ 0 w 367"/>
                <a:gd name="T21" fmla="*/ 196 h 293"/>
                <a:gd name="T22" fmla="*/ 0 w 367"/>
                <a:gd name="T23" fmla="*/ 190 h 293"/>
                <a:gd name="T24" fmla="*/ 0 w 367"/>
                <a:gd name="T25" fmla="*/ 184 h 293"/>
                <a:gd name="T26" fmla="*/ 1 w 367"/>
                <a:gd name="T27" fmla="*/ 180 h 293"/>
                <a:gd name="T28" fmla="*/ 5 w 367"/>
                <a:gd name="T29" fmla="*/ 174 h 293"/>
                <a:gd name="T30" fmla="*/ 10 w 367"/>
                <a:gd name="T31" fmla="*/ 169 h 293"/>
                <a:gd name="T32" fmla="*/ 10 w 367"/>
                <a:gd name="T33" fmla="*/ 169 h 293"/>
                <a:gd name="T34" fmla="*/ 13 w 367"/>
                <a:gd name="T35" fmla="*/ 166 h 293"/>
                <a:gd name="T36" fmla="*/ 18 w 367"/>
                <a:gd name="T37" fmla="*/ 164 h 293"/>
                <a:gd name="T38" fmla="*/ 23 w 367"/>
                <a:gd name="T39" fmla="*/ 163 h 293"/>
                <a:gd name="T40" fmla="*/ 28 w 367"/>
                <a:gd name="T41" fmla="*/ 162 h 293"/>
                <a:gd name="T42" fmla="*/ 34 w 367"/>
                <a:gd name="T43" fmla="*/ 163 h 293"/>
                <a:gd name="T44" fmla="*/ 40 w 367"/>
                <a:gd name="T45" fmla="*/ 164 h 293"/>
                <a:gd name="T46" fmla="*/ 44 w 367"/>
                <a:gd name="T47" fmla="*/ 166 h 293"/>
                <a:gd name="T48" fmla="*/ 48 w 367"/>
                <a:gd name="T49" fmla="*/ 169 h 293"/>
                <a:gd name="T50" fmla="*/ 48 w 367"/>
                <a:gd name="T51" fmla="*/ 169 h 293"/>
                <a:gd name="T52" fmla="*/ 104 w 367"/>
                <a:gd name="T53" fmla="*/ 224 h 293"/>
                <a:gd name="T54" fmla="*/ 104 w 367"/>
                <a:gd name="T55" fmla="*/ 224 h 293"/>
                <a:gd name="T56" fmla="*/ 318 w 367"/>
                <a:gd name="T57" fmla="*/ 10 h 293"/>
                <a:gd name="T58" fmla="*/ 318 w 367"/>
                <a:gd name="T59" fmla="*/ 10 h 293"/>
                <a:gd name="T60" fmla="*/ 321 w 367"/>
                <a:gd name="T61" fmla="*/ 6 h 293"/>
                <a:gd name="T62" fmla="*/ 327 w 367"/>
                <a:gd name="T63" fmla="*/ 3 h 293"/>
                <a:gd name="T64" fmla="*/ 331 w 367"/>
                <a:gd name="T65" fmla="*/ 0 h 293"/>
                <a:gd name="T66" fmla="*/ 337 w 367"/>
                <a:gd name="T67" fmla="*/ 0 h 293"/>
                <a:gd name="T68" fmla="*/ 343 w 367"/>
                <a:gd name="T69" fmla="*/ 0 h 293"/>
                <a:gd name="T70" fmla="*/ 349 w 367"/>
                <a:gd name="T71" fmla="*/ 3 h 293"/>
                <a:gd name="T72" fmla="*/ 353 w 367"/>
                <a:gd name="T73" fmla="*/ 6 h 293"/>
                <a:gd name="T74" fmla="*/ 357 w 367"/>
                <a:gd name="T75" fmla="*/ 10 h 293"/>
                <a:gd name="T76" fmla="*/ 357 w 367"/>
                <a:gd name="T77" fmla="*/ 10 h 293"/>
                <a:gd name="T78" fmla="*/ 361 w 367"/>
                <a:gd name="T79" fmla="*/ 14 h 293"/>
                <a:gd name="T80" fmla="*/ 364 w 367"/>
                <a:gd name="T81" fmla="*/ 19 h 293"/>
                <a:gd name="T82" fmla="*/ 366 w 367"/>
                <a:gd name="T83" fmla="*/ 24 h 293"/>
                <a:gd name="T84" fmla="*/ 367 w 367"/>
                <a:gd name="T85" fmla="*/ 29 h 293"/>
                <a:gd name="T86" fmla="*/ 366 w 367"/>
                <a:gd name="T87" fmla="*/ 34 h 293"/>
                <a:gd name="T88" fmla="*/ 364 w 367"/>
                <a:gd name="T89" fmla="*/ 40 h 293"/>
                <a:gd name="T90" fmla="*/ 361 w 367"/>
                <a:gd name="T91" fmla="*/ 44 h 293"/>
                <a:gd name="T92" fmla="*/ 357 w 367"/>
                <a:gd name="T93" fmla="*/ 49 h 293"/>
                <a:gd name="T94" fmla="*/ 357 w 367"/>
                <a:gd name="T95" fmla="*/ 49 h 293"/>
                <a:gd name="T96" fmla="*/ 123 w 367"/>
                <a:gd name="T97" fmla="*/ 286 h 293"/>
                <a:gd name="T98" fmla="*/ 123 w 367"/>
                <a:gd name="T99" fmla="*/ 286 h 293"/>
                <a:gd name="T100" fmla="*/ 113 w 367"/>
                <a:gd name="T101" fmla="*/ 292 h 293"/>
                <a:gd name="T102" fmla="*/ 108 w 367"/>
                <a:gd name="T103" fmla="*/ 293 h 293"/>
                <a:gd name="T104" fmla="*/ 104 w 367"/>
                <a:gd name="T105" fmla="*/ 293 h 293"/>
                <a:gd name="T106" fmla="*/ 104 w 367"/>
                <a:gd name="T107" fmla="*/ 293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7" h="293">
                  <a:moveTo>
                    <a:pt x="104" y="293"/>
                  </a:moveTo>
                  <a:lnTo>
                    <a:pt x="104" y="293"/>
                  </a:lnTo>
                  <a:lnTo>
                    <a:pt x="97" y="293"/>
                  </a:lnTo>
                  <a:lnTo>
                    <a:pt x="91" y="292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10" y="212"/>
                  </a:lnTo>
                  <a:lnTo>
                    <a:pt x="10" y="212"/>
                  </a:lnTo>
                  <a:lnTo>
                    <a:pt x="5" y="207"/>
                  </a:lnTo>
                  <a:lnTo>
                    <a:pt x="1" y="202"/>
                  </a:lnTo>
                  <a:lnTo>
                    <a:pt x="0" y="196"/>
                  </a:lnTo>
                  <a:lnTo>
                    <a:pt x="0" y="190"/>
                  </a:lnTo>
                  <a:lnTo>
                    <a:pt x="0" y="184"/>
                  </a:lnTo>
                  <a:lnTo>
                    <a:pt x="1" y="180"/>
                  </a:lnTo>
                  <a:lnTo>
                    <a:pt x="5" y="174"/>
                  </a:lnTo>
                  <a:lnTo>
                    <a:pt x="10" y="169"/>
                  </a:lnTo>
                  <a:lnTo>
                    <a:pt x="10" y="169"/>
                  </a:lnTo>
                  <a:lnTo>
                    <a:pt x="13" y="166"/>
                  </a:lnTo>
                  <a:lnTo>
                    <a:pt x="18" y="164"/>
                  </a:lnTo>
                  <a:lnTo>
                    <a:pt x="23" y="163"/>
                  </a:lnTo>
                  <a:lnTo>
                    <a:pt x="28" y="162"/>
                  </a:lnTo>
                  <a:lnTo>
                    <a:pt x="34" y="163"/>
                  </a:lnTo>
                  <a:lnTo>
                    <a:pt x="40" y="164"/>
                  </a:lnTo>
                  <a:lnTo>
                    <a:pt x="44" y="166"/>
                  </a:lnTo>
                  <a:lnTo>
                    <a:pt x="48" y="169"/>
                  </a:lnTo>
                  <a:lnTo>
                    <a:pt x="48" y="169"/>
                  </a:lnTo>
                  <a:lnTo>
                    <a:pt x="104" y="224"/>
                  </a:lnTo>
                  <a:lnTo>
                    <a:pt x="104" y="224"/>
                  </a:lnTo>
                  <a:lnTo>
                    <a:pt x="318" y="10"/>
                  </a:lnTo>
                  <a:lnTo>
                    <a:pt x="318" y="10"/>
                  </a:lnTo>
                  <a:lnTo>
                    <a:pt x="321" y="6"/>
                  </a:lnTo>
                  <a:lnTo>
                    <a:pt x="327" y="3"/>
                  </a:lnTo>
                  <a:lnTo>
                    <a:pt x="331" y="0"/>
                  </a:lnTo>
                  <a:lnTo>
                    <a:pt x="337" y="0"/>
                  </a:lnTo>
                  <a:lnTo>
                    <a:pt x="343" y="0"/>
                  </a:lnTo>
                  <a:lnTo>
                    <a:pt x="349" y="3"/>
                  </a:lnTo>
                  <a:lnTo>
                    <a:pt x="353" y="6"/>
                  </a:lnTo>
                  <a:lnTo>
                    <a:pt x="357" y="10"/>
                  </a:lnTo>
                  <a:lnTo>
                    <a:pt x="357" y="10"/>
                  </a:lnTo>
                  <a:lnTo>
                    <a:pt x="361" y="14"/>
                  </a:lnTo>
                  <a:lnTo>
                    <a:pt x="364" y="19"/>
                  </a:lnTo>
                  <a:lnTo>
                    <a:pt x="366" y="24"/>
                  </a:lnTo>
                  <a:lnTo>
                    <a:pt x="367" y="29"/>
                  </a:lnTo>
                  <a:lnTo>
                    <a:pt x="366" y="34"/>
                  </a:lnTo>
                  <a:lnTo>
                    <a:pt x="364" y="40"/>
                  </a:lnTo>
                  <a:lnTo>
                    <a:pt x="361" y="44"/>
                  </a:lnTo>
                  <a:lnTo>
                    <a:pt x="357" y="49"/>
                  </a:lnTo>
                  <a:lnTo>
                    <a:pt x="357" y="49"/>
                  </a:lnTo>
                  <a:lnTo>
                    <a:pt x="123" y="286"/>
                  </a:lnTo>
                  <a:lnTo>
                    <a:pt x="123" y="286"/>
                  </a:lnTo>
                  <a:lnTo>
                    <a:pt x="113" y="292"/>
                  </a:lnTo>
                  <a:lnTo>
                    <a:pt x="108" y="293"/>
                  </a:lnTo>
                  <a:lnTo>
                    <a:pt x="104" y="293"/>
                  </a:lnTo>
                  <a:lnTo>
                    <a:pt x="104" y="293"/>
                  </a:lnTo>
                  <a:close/>
                </a:path>
              </a:pathLst>
            </a:custGeom>
            <a:solidFill>
              <a:srgbClr val="FED6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6" name="Freeform 32"/>
            <p:cNvSpPr>
              <a:spLocks noEditPoints="1"/>
            </p:cNvSpPr>
            <p:nvPr userDrawn="1"/>
          </p:nvSpPr>
          <p:spPr bwMode="auto">
            <a:xfrm>
              <a:off x="4103822" y="3103079"/>
              <a:ext cx="158515" cy="167731"/>
            </a:xfrm>
            <a:custGeom>
              <a:avLst/>
              <a:gdLst>
                <a:gd name="T0" fmla="*/ 258 w 258"/>
                <a:gd name="T1" fmla="*/ 273 h 273"/>
                <a:gd name="T2" fmla="*/ 0 w 258"/>
                <a:gd name="T3" fmla="*/ 273 h 273"/>
                <a:gd name="T4" fmla="*/ 0 w 258"/>
                <a:gd name="T5" fmla="*/ 0 h 273"/>
                <a:gd name="T6" fmla="*/ 258 w 258"/>
                <a:gd name="T7" fmla="*/ 0 h 273"/>
                <a:gd name="T8" fmla="*/ 258 w 258"/>
                <a:gd name="T9" fmla="*/ 273 h 273"/>
                <a:gd name="T10" fmla="*/ 258 w 258"/>
                <a:gd name="T11" fmla="*/ 273 h 273"/>
                <a:gd name="T12" fmla="*/ 258 w 258"/>
                <a:gd name="T13" fmla="*/ 273 h 273"/>
                <a:gd name="T14" fmla="*/ 25 w 258"/>
                <a:gd name="T15" fmla="*/ 247 h 273"/>
                <a:gd name="T16" fmla="*/ 233 w 258"/>
                <a:gd name="T17" fmla="*/ 247 h 273"/>
                <a:gd name="T18" fmla="*/ 233 w 258"/>
                <a:gd name="T19" fmla="*/ 27 h 273"/>
                <a:gd name="T20" fmla="*/ 25 w 258"/>
                <a:gd name="T21" fmla="*/ 27 h 273"/>
                <a:gd name="T22" fmla="*/ 25 w 258"/>
                <a:gd name="T23" fmla="*/ 247 h 273"/>
                <a:gd name="T24" fmla="*/ 25 w 258"/>
                <a:gd name="T25" fmla="*/ 247 h 273"/>
                <a:gd name="T26" fmla="*/ 25 w 258"/>
                <a:gd name="T27" fmla="*/ 247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8" h="273">
                  <a:moveTo>
                    <a:pt x="258" y="273"/>
                  </a:moveTo>
                  <a:lnTo>
                    <a:pt x="0" y="273"/>
                  </a:lnTo>
                  <a:lnTo>
                    <a:pt x="0" y="0"/>
                  </a:lnTo>
                  <a:lnTo>
                    <a:pt x="258" y="0"/>
                  </a:lnTo>
                  <a:lnTo>
                    <a:pt x="258" y="273"/>
                  </a:lnTo>
                  <a:lnTo>
                    <a:pt x="258" y="273"/>
                  </a:lnTo>
                  <a:lnTo>
                    <a:pt x="258" y="273"/>
                  </a:lnTo>
                  <a:close/>
                  <a:moveTo>
                    <a:pt x="25" y="247"/>
                  </a:moveTo>
                  <a:lnTo>
                    <a:pt x="233" y="247"/>
                  </a:lnTo>
                  <a:lnTo>
                    <a:pt x="233" y="27"/>
                  </a:lnTo>
                  <a:lnTo>
                    <a:pt x="25" y="27"/>
                  </a:lnTo>
                  <a:lnTo>
                    <a:pt x="25" y="247"/>
                  </a:lnTo>
                  <a:lnTo>
                    <a:pt x="25" y="247"/>
                  </a:lnTo>
                  <a:lnTo>
                    <a:pt x="25" y="247"/>
                  </a:lnTo>
                  <a:close/>
                </a:path>
              </a:pathLst>
            </a:custGeom>
            <a:solidFill>
              <a:srgbClr val="494C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7" name="Freeform 33"/>
            <p:cNvSpPr>
              <a:spLocks/>
            </p:cNvSpPr>
            <p:nvPr userDrawn="1"/>
          </p:nvSpPr>
          <p:spPr bwMode="auto">
            <a:xfrm>
              <a:off x="4406106" y="3182337"/>
              <a:ext cx="560332" cy="20275"/>
            </a:xfrm>
            <a:custGeom>
              <a:avLst/>
              <a:gdLst>
                <a:gd name="T0" fmla="*/ 0 w 914"/>
                <a:gd name="T1" fmla="*/ 0 h 33"/>
                <a:gd name="T2" fmla="*/ 914 w 914"/>
                <a:gd name="T3" fmla="*/ 0 h 33"/>
                <a:gd name="T4" fmla="*/ 914 w 914"/>
                <a:gd name="T5" fmla="*/ 33 h 33"/>
                <a:gd name="T6" fmla="*/ 0 w 914"/>
                <a:gd name="T7" fmla="*/ 33 h 33"/>
                <a:gd name="T8" fmla="*/ 0 w 914"/>
                <a:gd name="T9" fmla="*/ 0 h 33"/>
                <a:gd name="T10" fmla="*/ 0 w 914"/>
                <a:gd name="T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4" h="33">
                  <a:moveTo>
                    <a:pt x="0" y="0"/>
                  </a:moveTo>
                  <a:lnTo>
                    <a:pt x="914" y="0"/>
                  </a:lnTo>
                  <a:lnTo>
                    <a:pt x="914" y="33"/>
                  </a:lnTo>
                  <a:lnTo>
                    <a:pt x="0" y="3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94C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8" name="Freeform 34"/>
            <p:cNvSpPr>
              <a:spLocks/>
            </p:cNvSpPr>
            <p:nvPr userDrawn="1"/>
          </p:nvSpPr>
          <p:spPr bwMode="auto">
            <a:xfrm>
              <a:off x="4406106" y="3256065"/>
              <a:ext cx="560332" cy="18432"/>
            </a:xfrm>
            <a:custGeom>
              <a:avLst/>
              <a:gdLst>
                <a:gd name="T0" fmla="*/ 0 w 914"/>
                <a:gd name="T1" fmla="*/ 0 h 30"/>
                <a:gd name="T2" fmla="*/ 914 w 914"/>
                <a:gd name="T3" fmla="*/ 0 h 30"/>
                <a:gd name="T4" fmla="*/ 914 w 914"/>
                <a:gd name="T5" fmla="*/ 30 h 30"/>
                <a:gd name="T6" fmla="*/ 0 w 914"/>
                <a:gd name="T7" fmla="*/ 30 h 30"/>
                <a:gd name="T8" fmla="*/ 0 w 914"/>
                <a:gd name="T9" fmla="*/ 0 h 30"/>
                <a:gd name="T10" fmla="*/ 0 w 914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4" h="30">
                  <a:moveTo>
                    <a:pt x="0" y="0"/>
                  </a:moveTo>
                  <a:lnTo>
                    <a:pt x="914" y="0"/>
                  </a:lnTo>
                  <a:lnTo>
                    <a:pt x="914" y="30"/>
                  </a:lnTo>
                  <a:lnTo>
                    <a:pt x="0" y="3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94C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9" name="Freeform 35"/>
            <p:cNvSpPr>
              <a:spLocks/>
            </p:cNvSpPr>
            <p:nvPr userDrawn="1"/>
          </p:nvSpPr>
          <p:spPr bwMode="auto">
            <a:xfrm>
              <a:off x="4406106" y="3103079"/>
              <a:ext cx="280166" cy="18432"/>
            </a:xfrm>
            <a:custGeom>
              <a:avLst/>
              <a:gdLst>
                <a:gd name="T0" fmla="*/ 0 w 458"/>
                <a:gd name="T1" fmla="*/ 0 h 30"/>
                <a:gd name="T2" fmla="*/ 458 w 458"/>
                <a:gd name="T3" fmla="*/ 0 h 30"/>
                <a:gd name="T4" fmla="*/ 458 w 458"/>
                <a:gd name="T5" fmla="*/ 30 h 30"/>
                <a:gd name="T6" fmla="*/ 0 w 458"/>
                <a:gd name="T7" fmla="*/ 30 h 30"/>
                <a:gd name="T8" fmla="*/ 0 w 458"/>
                <a:gd name="T9" fmla="*/ 0 h 30"/>
                <a:gd name="T10" fmla="*/ 0 w 4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8" h="30">
                  <a:moveTo>
                    <a:pt x="0" y="0"/>
                  </a:moveTo>
                  <a:lnTo>
                    <a:pt x="458" y="0"/>
                  </a:lnTo>
                  <a:lnTo>
                    <a:pt x="458" y="30"/>
                  </a:lnTo>
                  <a:lnTo>
                    <a:pt x="0" y="3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94C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0" name="Freeform 36"/>
            <p:cNvSpPr>
              <a:spLocks/>
            </p:cNvSpPr>
            <p:nvPr userDrawn="1"/>
          </p:nvSpPr>
          <p:spPr bwMode="auto">
            <a:xfrm>
              <a:off x="4122254" y="3044097"/>
              <a:ext cx="226713" cy="182477"/>
            </a:xfrm>
            <a:custGeom>
              <a:avLst/>
              <a:gdLst>
                <a:gd name="T0" fmla="*/ 104 w 367"/>
                <a:gd name="T1" fmla="*/ 295 h 295"/>
                <a:gd name="T2" fmla="*/ 104 w 367"/>
                <a:gd name="T3" fmla="*/ 295 h 295"/>
                <a:gd name="T4" fmla="*/ 97 w 367"/>
                <a:gd name="T5" fmla="*/ 293 h 295"/>
                <a:gd name="T6" fmla="*/ 91 w 367"/>
                <a:gd name="T7" fmla="*/ 292 h 295"/>
                <a:gd name="T8" fmla="*/ 85 w 367"/>
                <a:gd name="T9" fmla="*/ 289 h 295"/>
                <a:gd name="T10" fmla="*/ 81 w 367"/>
                <a:gd name="T11" fmla="*/ 285 h 295"/>
                <a:gd name="T12" fmla="*/ 81 w 367"/>
                <a:gd name="T13" fmla="*/ 285 h 295"/>
                <a:gd name="T14" fmla="*/ 10 w 367"/>
                <a:gd name="T15" fmla="*/ 209 h 295"/>
                <a:gd name="T16" fmla="*/ 10 w 367"/>
                <a:gd name="T17" fmla="*/ 209 h 295"/>
                <a:gd name="T18" fmla="*/ 5 w 367"/>
                <a:gd name="T19" fmla="*/ 204 h 295"/>
                <a:gd name="T20" fmla="*/ 1 w 367"/>
                <a:gd name="T21" fmla="*/ 200 h 295"/>
                <a:gd name="T22" fmla="*/ 0 w 367"/>
                <a:gd name="T23" fmla="*/ 194 h 295"/>
                <a:gd name="T24" fmla="*/ 0 w 367"/>
                <a:gd name="T25" fmla="*/ 190 h 295"/>
                <a:gd name="T26" fmla="*/ 0 w 367"/>
                <a:gd name="T27" fmla="*/ 184 h 295"/>
                <a:gd name="T28" fmla="*/ 1 w 367"/>
                <a:gd name="T29" fmla="*/ 179 h 295"/>
                <a:gd name="T30" fmla="*/ 5 w 367"/>
                <a:gd name="T31" fmla="*/ 174 h 295"/>
                <a:gd name="T32" fmla="*/ 10 w 367"/>
                <a:gd name="T33" fmla="*/ 170 h 295"/>
                <a:gd name="T34" fmla="*/ 10 w 367"/>
                <a:gd name="T35" fmla="*/ 170 h 295"/>
                <a:gd name="T36" fmla="*/ 13 w 367"/>
                <a:gd name="T37" fmla="*/ 166 h 295"/>
                <a:gd name="T38" fmla="*/ 18 w 367"/>
                <a:gd name="T39" fmla="*/ 163 h 295"/>
                <a:gd name="T40" fmla="*/ 23 w 367"/>
                <a:gd name="T41" fmla="*/ 162 h 295"/>
                <a:gd name="T42" fmla="*/ 28 w 367"/>
                <a:gd name="T43" fmla="*/ 160 h 295"/>
                <a:gd name="T44" fmla="*/ 34 w 367"/>
                <a:gd name="T45" fmla="*/ 162 h 295"/>
                <a:gd name="T46" fmla="*/ 40 w 367"/>
                <a:gd name="T47" fmla="*/ 163 h 295"/>
                <a:gd name="T48" fmla="*/ 44 w 367"/>
                <a:gd name="T49" fmla="*/ 166 h 295"/>
                <a:gd name="T50" fmla="*/ 48 w 367"/>
                <a:gd name="T51" fmla="*/ 170 h 295"/>
                <a:gd name="T52" fmla="*/ 48 w 367"/>
                <a:gd name="T53" fmla="*/ 170 h 295"/>
                <a:gd name="T54" fmla="*/ 104 w 367"/>
                <a:gd name="T55" fmla="*/ 222 h 295"/>
                <a:gd name="T56" fmla="*/ 104 w 367"/>
                <a:gd name="T57" fmla="*/ 222 h 295"/>
                <a:gd name="T58" fmla="*/ 318 w 367"/>
                <a:gd name="T59" fmla="*/ 7 h 295"/>
                <a:gd name="T60" fmla="*/ 318 w 367"/>
                <a:gd name="T61" fmla="*/ 7 h 295"/>
                <a:gd name="T62" fmla="*/ 321 w 367"/>
                <a:gd name="T63" fmla="*/ 4 h 295"/>
                <a:gd name="T64" fmla="*/ 327 w 367"/>
                <a:gd name="T65" fmla="*/ 1 h 295"/>
                <a:gd name="T66" fmla="*/ 331 w 367"/>
                <a:gd name="T67" fmla="*/ 0 h 295"/>
                <a:gd name="T68" fmla="*/ 337 w 367"/>
                <a:gd name="T69" fmla="*/ 0 h 295"/>
                <a:gd name="T70" fmla="*/ 343 w 367"/>
                <a:gd name="T71" fmla="*/ 0 h 295"/>
                <a:gd name="T72" fmla="*/ 349 w 367"/>
                <a:gd name="T73" fmla="*/ 1 h 295"/>
                <a:gd name="T74" fmla="*/ 353 w 367"/>
                <a:gd name="T75" fmla="*/ 4 h 295"/>
                <a:gd name="T76" fmla="*/ 357 w 367"/>
                <a:gd name="T77" fmla="*/ 7 h 295"/>
                <a:gd name="T78" fmla="*/ 357 w 367"/>
                <a:gd name="T79" fmla="*/ 7 h 295"/>
                <a:gd name="T80" fmla="*/ 361 w 367"/>
                <a:gd name="T81" fmla="*/ 13 h 295"/>
                <a:gd name="T82" fmla="*/ 364 w 367"/>
                <a:gd name="T83" fmla="*/ 17 h 295"/>
                <a:gd name="T84" fmla="*/ 366 w 367"/>
                <a:gd name="T85" fmla="*/ 23 h 295"/>
                <a:gd name="T86" fmla="*/ 367 w 367"/>
                <a:gd name="T87" fmla="*/ 29 h 295"/>
                <a:gd name="T88" fmla="*/ 366 w 367"/>
                <a:gd name="T89" fmla="*/ 34 h 295"/>
                <a:gd name="T90" fmla="*/ 364 w 367"/>
                <a:gd name="T91" fmla="*/ 39 h 295"/>
                <a:gd name="T92" fmla="*/ 361 w 367"/>
                <a:gd name="T93" fmla="*/ 44 h 295"/>
                <a:gd name="T94" fmla="*/ 357 w 367"/>
                <a:gd name="T95" fmla="*/ 50 h 295"/>
                <a:gd name="T96" fmla="*/ 357 w 367"/>
                <a:gd name="T97" fmla="*/ 50 h 295"/>
                <a:gd name="T98" fmla="*/ 123 w 367"/>
                <a:gd name="T99" fmla="*/ 285 h 295"/>
                <a:gd name="T100" fmla="*/ 123 w 367"/>
                <a:gd name="T101" fmla="*/ 285 h 295"/>
                <a:gd name="T102" fmla="*/ 118 w 367"/>
                <a:gd name="T103" fmla="*/ 289 h 295"/>
                <a:gd name="T104" fmla="*/ 113 w 367"/>
                <a:gd name="T105" fmla="*/ 292 h 295"/>
                <a:gd name="T106" fmla="*/ 108 w 367"/>
                <a:gd name="T107" fmla="*/ 293 h 295"/>
                <a:gd name="T108" fmla="*/ 104 w 367"/>
                <a:gd name="T109" fmla="*/ 295 h 295"/>
                <a:gd name="T110" fmla="*/ 104 w 367"/>
                <a:gd name="T111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67" h="295">
                  <a:moveTo>
                    <a:pt x="104" y="295"/>
                  </a:moveTo>
                  <a:lnTo>
                    <a:pt x="104" y="295"/>
                  </a:lnTo>
                  <a:lnTo>
                    <a:pt x="97" y="293"/>
                  </a:lnTo>
                  <a:lnTo>
                    <a:pt x="91" y="292"/>
                  </a:lnTo>
                  <a:lnTo>
                    <a:pt x="85" y="289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10" y="209"/>
                  </a:lnTo>
                  <a:lnTo>
                    <a:pt x="10" y="209"/>
                  </a:lnTo>
                  <a:lnTo>
                    <a:pt x="5" y="204"/>
                  </a:lnTo>
                  <a:lnTo>
                    <a:pt x="1" y="200"/>
                  </a:lnTo>
                  <a:lnTo>
                    <a:pt x="0" y="194"/>
                  </a:lnTo>
                  <a:lnTo>
                    <a:pt x="0" y="190"/>
                  </a:lnTo>
                  <a:lnTo>
                    <a:pt x="0" y="184"/>
                  </a:lnTo>
                  <a:lnTo>
                    <a:pt x="1" y="179"/>
                  </a:lnTo>
                  <a:lnTo>
                    <a:pt x="5" y="174"/>
                  </a:lnTo>
                  <a:lnTo>
                    <a:pt x="10" y="170"/>
                  </a:lnTo>
                  <a:lnTo>
                    <a:pt x="10" y="170"/>
                  </a:lnTo>
                  <a:lnTo>
                    <a:pt x="13" y="166"/>
                  </a:lnTo>
                  <a:lnTo>
                    <a:pt x="18" y="163"/>
                  </a:lnTo>
                  <a:lnTo>
                    <a:pt x="23" y="162"/>
                  </a:lnTo>
                  <a:lnTo>
                    <a:pt x="28" y="160"/>
                  </a:lnTo>
                  <a:lnTo>
                    <a:pt x="34" y="162"/>
                  </a:lnTo>
                  <a:lnTo>
                    <a:pt x="40" y="163"/>
                  </a:lnTo>
                  <a:lnTo>
                    <a:pt x="44" y="166"/>
                  </a:lnTo>
                  <a:lnTo>
                    <a:pt x="48" y="170"/>
                  </a:lnTo>
                  <a:lnTo>
                    <a:pt x="48" y="170"/>
                  </a:lnTo>
                  <a:lnTo>
                    <a:pt x="104" y="222"/>
                  </a:lnTo>
                  <a:lnTo>
                    <a:pt x="104" y="222"/>
                  </a:lnTo>
                  <a:lnTo>
                    <a:pt x="318" y="7"/>
                  </a:lnTo>
                  <a:lnTo>
                    <a:pt x="318" y="7"/>
                  </a:lnTo>
                  <a:lnTo>
                    <a:pt x="321" y="4"/>
                  </a:lnTo>
                  <a:lnTo>
                    <a:pt x="327" y="1"/>
                  </a:lnTo>
                  <a:lnTo>
                    <a:pt x="331" y="0"/>
                  </a:lnTo>
                  <a:lnTo>
                    <a:pt x="337" y="0"/>
                  </a:lnTo>
                  <a:lnTo>
                    <a:pt x="343" y="0"/>
                  </a:lnTo>
                  <a:lnTo>
                    <a:pt x="349" y="1"/>
                  </a:lnTo>
                  <a:lnTo>
                    <a:pt x="353" y="4"/>
                  </a:lnTo>
                  <a:lnTo>
                    <a:pt x="357" y="7"/>
                  </a:lnTo>
                  <a:lnTo>
                    <a:pt x="357" y="7"/>
                  </a:lnTo>
                  <a:lnTo>
                    <a:pt x="361" y="13"/>
                  </a:lnTo>
                  <a:lnTo>
                    <a:pt x="364" y="17"/>
                  </a:lnTo>
                  <a:lnTo>
                    <a:pt x="366" y="23"/>
                  </a:lnTo>
                  <a:lnTo>
                    <a:pt x="367" y="29"/>
                  </a:lnTo>
                  <a:lnTo>
                    <a:pt x="366" y="34"/>
                  </a:lnTo>
                  <a:lnTo>
                    <a:pt x="364" y="39"/>
                  </a:lnTo>
                  <a:lnTo>
                    <a:pt x="361" y="44"/>
                  </a:lnTo>
                  <a:lnTo>
                    <a:pt x="357" y="50"/>
                  </a:lnTo>
                  <a:lnTo>
                    <a:pt x="357" y="50"/>
                  </a:lnTo>
                  <a:lnTo>
                    <a:pt x="123" y="285"/>
                  </a:lnTo>
                  <a:lnTo>
                    <a:pt x="123" y="285"/>
                  </a:lnTo>
                  <a:lnTo>
                    <a:pt x="118" y="289"/>
                  </a:lnTo>
                  <a:lnTo>
                    <a:pt x="113" y="292"/>
                  </a:lnTo>
                  <a:lnTo>
                    <a:pt x="108" y="293"/>
                  </a:lnTo>
                  <a:lnTo>
                    <a:pt x="104" y="295"/>
                  </a:lnTo>
                  <a:lnTo>
                    <a:pt x="104" y="295"/>
                  </a:lnTo>
                  <a:close/>
                </a:path>
              </a:pathLst>
            </a:custGeom>
            <a:solidFill>
              <a:srgbClr val="A1D4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2" name="Freeform 37"/>
            <p:cNvSpPr>
              <a:spLocks noEditPoints="1"/>
            </p:cNvSpPr>
            <p:nvPr userDrawn="1"/>
          </p:nvSpPr>
          <p:spPr bwMode="auto">
            <a:xfrm>
              <a:off x="4103822" y="3383245"/>
              <a:ext cx="158515" cy="167731"/>
            </a:xfrm>
            <a:custGeom>
              <a:avLst/>
              <a:gdLst>
                <a:gd name="T0" fmla="*/ 258 w 258"/>
                <a:gd name="T1" fmla="*/ 273 h 273"/>
                <a:gd name="T2" fmla="*/ 0 w 258"/>
                <a:gd name="T3" fmla="*/ 273 h 273"/>
                <a:gd name="T4" fmla="*/ 0 w 258"/>
                <a:gd name="T5" fmla="*/ 0 h 273"/>
                <a:gd name="T6" fmla="*/ 258 w 258"/>
                <a:gd name="T7" fmla="*/ 0 h 273"/>
                <a:gd name="T8" fmla="*/ 258 w 258"/>
                <a:gd name="T9" fmla="*/ 273 h 273"/>
                <a:gd name="T10" fmla="*/ 258 w 258"/>
                <a:gd name="T11" fmla="*/ 273 h 273"/>
                <a:gd name="T12" fmla="*/ 258 w 258"/>
                <a:gd name="T13" fmla="*/ 273 h 273"/>
                <a:gd name="T14" fmla="*/ 25 w 258"/>
                <a:gd name="T15" fmla="*/ 246 h 273"/>
                <a:gd name="T16" fmla="*/ 233 w 258"/>
                <a:gd name="T17" fmla="*/ 246 h 273"/>
                <a:gd name="T18" fmla="*/ 233 w 258"/>
                <a:gd name="T19" fmla="*/ 26 h 273"/>
                <a:gd name="T20" fmla="*/ 25 w 258"/>
                <a:gd name="T21" fmla="*/ 26 h 273"/>
                <a:gd name="T22" fmla="*/ 25 w 258"/>
                <a:gd name="T23" fmla="*/ 246 h 273"/>
                <a:gd name="T24" fmla="*/ 25 w 258"/>
                <a:gd name="T25" fmla="*/ 246 h 273"/>
                <a:gd name="T26" fmla="*/ 25 w 258"/>
                <a:gd name="T27" fmla="*/ 246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8" h="273">
                  <a:moveTo>
                    <a:pt x="258" y="273"/>
                  </a:moveTo>
                  <a:lnTo>
                    <a:pt x="0" y="273"/>
                  </a:lnTo>
                  <a:lnTo>
                    <a:pt x="0" y="0"/>
                  </a:lnTo>
                  <a:lnTo>
                    <a:pt x="258" y="0"/>
                  </a:lnTo>
                  <a:lnTo>
                    <a:pt x="258" y="273"/>
                  </a:lnTo>
                  <a:lnTo>
                    <a:pt x="258" y="273"/>
                  </a:lnTo>
                  <a:lnTo>
                    <a:pt x="258" y="273"/>
                  </a:lnTo>
                  <a:close/>
                  <a:moveTo>
                    <a:pt x="25" y="246"/>
                  </a:moveTo>
                  <a:lnTo>
                    <a:pt x="233" y="246"/>
                  </a:lnTo>
                  <a:lnTo>
                    <a:pt x="233" y="26"/>
                  </a:lnTo>
                  <a:lnTo>
                    <a:pt x="25" y="26"/>
                  </a:lnTo>
                  <a:lnTo>
                    <a:pt x="25" y="246"/>
                  </a:lnTo>
                  <a:lnTo>
                    <a:pt x="25" y="246"/>
                  </a:lnTo>
                  <a:lnTo>
                    <a:pt x="25" y="246"/>
                  </a:lnTo>
                  <a:close/>
                </a:path>
              </a:pathLst>
            </a:custGeom>
            <a:solidFill>
              <a:srgbClr val="494C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4" name="Freeform 38"/>
            <p:cNvSpPr>
              <a:spLocks/>
            </p:cNvSpPr>
            <p:nvPr userDrawn="1"/>
          </p:nvSpPr>
          <p:spPr bwMode="auto">
            <a:xfrm>
              <a:off x="4406106" y="3464346"/>
              <a:ext cx="560332" cy="18432"/>
            </a:xfrm>
            <a:custGeom>
              <a:avLst/>
              <a:gdLst>
                <a:gd name="T0" fmla="*/ 0 w 914"/>
                <a:gd name="T1" fmla="*/ 0 h 32"/>
                <a:gd name="T2" fmla="*/ 914 w 914"/>
                <a:gd name="T3" fmla="*/ 0 h 32"/>
                <a:gd name="T4" fmla="*/ 914 w 914"/>
                <a:gd name="T5" fmla="*/ 32 h 32"/>
                <a:gd name="T6" fmla="*/ 0 w 914"/>
                <a:gd name="T7" fmla="*/ 32 h 32"/>
                <a:gd name="T8" fmla="*/ 0 w 914"/>
                <a:gd name="T9" fmla="*/ 0 h 32"/>
                <a:gd name="T10" fmla="*/ 0 w 914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4" h="32">
                  <a:moveTo>
                    <a:pt x="0" y="0"/>
                  </a:moveTo>
                  <a:lnTo>
                    <a:pt x="914" y="0"/>
                  </a:lnTo>
                  <a:lnTo>
                    <a:pt x="914" y="32"/>
                  </a:lnTo>
                  <a:lnTo>
                    <a:pt x="0" y="3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94C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6" name="Freeform 39"/>
            <p:cNvSpPr>
              <a:spLocks/>
            </p:cNvSpPr>
            <p:nvPr userDrawn="1"/>
          </p:nvSpPr>
          <p:spPr bwMode="auto">
            <a:xfrm>
              <a:off x="4406106" y="3536231"/>
              <a:ext cx="560332" cy="18432"/>
            </a:xfrm>
            <a:custGeom>
              <a:avLst/>
              <a:gdLst>
                <a:gd name="T0" fmla="*/ 0 w 914"/>
                <a:gd name="T1" fmla="*/ 0 h 30"/>
                <a:gd name="T2" fmla="*/ 914 w 914"/>
                <a:gd name="T3" fmla="*/ 0 h 30"/>
                <a:gd name="T4" fmla="*/ 914 w 914"/>
                <a:gd name="T5" fmla="*/ 30 h 30"/>
                <a:gd name="T6" fmla="*/ 0 w 914"/>
                <a:gd name="T7" fmla="*/ 30 h 30"/>
                <a:gd name="T8" fmla="*/ 0 w 914"/>
                <a:gd name="T9" fmla="*/ 0 h 30"/>
                <a:gd name="T10" fmla="*/ 0 w 914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4" h="30">
                  <a:moveTo>
                    <a:pt x="0" y="0"/>
                  </a:moveTo>
                  <a:lnTo>
                    <a:pt x="914" y="0"/>
                  </a:lnTo>
                  <a:lnTo>
                    <a:pt x="914" y="30"/>
                  </a:lnTo>
                  <a:lnTo>
                    <a:pt x="0" y="3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94C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8" name="Freeform 40"/>
            <p:cNvSpPr>
              <a:spLocks/>
            </p:cNvSpPr>
            <p:nvPr userDrawn="1"/>
          </p:nvSpPr>
          <p:spPr bwMode="auto">
            <a:xfrm>
              <a:off x="4406106" y="3383245"/>
              <a:ext cx="280166" cy="18432"/>
            </a:xfrm>
            <a:custGeom>
              <a:avLst/>
              <a:gdLst>
                <a:gd name="T0" fmla="*/ 0 w 458"/>
                <a:gd name="T1" fmla="*/ 0 h 30"/>
                <a:gd name="T2" fmla="*/ 458 w 458"/>
                <a:gd name="T3" fmla="*/ 0 h 30"/>
                <a:gd name="T4" fmla="*/ 458 w 458"/>
                <a:gd name="T5" fmla="*/ 30 h 30"/>
                <a:gd name="T6" fmla="*/ 0 w 458"/>
                <a:gd name="T7" fmla="*/ 30 h 30"/>
                <a:gd name="T8" fmla="*/ 0 w 458"/>
                <a:gd name="T9" fmla="*/ 0 h 30"/>
                <a:gd name="T10" fmla="*/ 0 w 4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8" h="30">
                  <a:moveTo>
                    <a:pt x="0" y="0"/>
                  </a:moveTo>
                  <a:lnTo>
                    <a:pt x="458" y="0"/>
                  </a:lnTo>
                  <a:lnTo>
                    <a:pt x="458" y="30"/>
                  </a:lnTo>
                  <a:lnTo>
                    <a:pt x="0" y="3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94C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9" name="Freeform 41"/>
            <p:cNvSpPr>
              <a:spLocks/>
            </p:cNvSpPr>
            <p:nvPr userDrawn="1"/>
          </p:nvSpPr>
          <p:spPr bwMode="auto">
            <a:xfrm>
              <a:off x="4122254" y="3322420"/>
              <a:ext cx="226713" cy="180633"/>
            </a:xfrm>
            <a:custGeom>
              <a:avLst/>
              <a:gdLst>
                <a:gd name="T0" fmla="*/ 104 w 367"/>
                <a:gd name="T1" fmla="*/ 293 h 293"/>
                <a:gd name="T2" fmla="*/ 104 w 367"/>
                <a:gd name="T3" fmla="*/ 293 h 293"/>
                <a:gd name="T4" fmla="*/ 97 w 367"/>
                <a:gd name="T5" fmla="*/ 293 h 293"/>
                <a:gd name="T6" fmla="*/ 91 w 367"/>
                <a:gd name="T7" fmla="*/ 293 h 293"/>
                <a:gd name="T8" fmla="*/ 85 w 367"/>
                <a:gd name="T9" fmla="*/ 290 h 293"/>
                <a:gd name="T10" fmla="*/ 81 w 367"/>
                <a:gd name="T11" fmla="*/ 287 h 293"/>
                <a:gd name="T12" fmla="*/ 81 w 367"/>
                <a:gd name="T13" fmla="*/ 287 h 293"/>
                <a:gd name="T14" fmla="*/ 10 w 367"/>
                <a:gd name="T15" fmla="*/ 211 h 293"/>
                <a:gd name="T16" fmla="*/ 10 w 367"/>
                <a:gd name="T17" fmla="*/ 211 h 293"/>
                <a:gd name="T18" fmla="*/ 5 w 367"/>
                <a:gd name="T19" fmla="*/ 207 h 293"/>
                <a:gd name="T20" fmla="*/ 1 w 367"/>
                <a:gd name="T21" fmla="*/ 203 h 293"/>
                <a:gd name="T22" fmla="*/ 0 w 367"/>
                <a:gd name="T23" fmla="*/ 197 h 293"/>
                <a:gd name="T24" fmla="*/ 0 w 367"/>
                <a:gd name="T25" fmla="*/ 191 h 293"/>
                <a:gd name="T26" fmla="*/ 0 w 367"/>
                <a:gd name="T27" fmla="*/ 187 h 293"/>
                <a:gd name="T28" fmla="*/ 1 w 367"/>
                <a:gd name="T29" fmla="*/ 181 h 293"/>
                <a:gd name="T30" fmla="*/ 5 w 367"/>
                <a:gd name="T31" fmla="*/ 177 h 293"/>
                <a:gd name="T32" fmla="*/ 10 w 367"/>
                <a:gd name="T33" fmla="*/ 173 h 293"/>
                <a:gd name="T34" fmla="*/ 10 w 367"/>
                <a:gd name="T35" fmla="*/ 173 h 293"/>
                <a:gd name="T36" fmla="*/ 13 w 367"/>
                <a:gd name="T37" fmla="*/ 169 h 293"/>
                <a:gd name="T38" fmla="*/ 18 w 367"/>
                <a:gd name="T39" fmla="*/ 166 h 293"/>
                <a:gd name="T40" fmla="*/ 23 w 367"/>
                <a:gd name="T41" fmla="*/ 163 h 293"/>
                <a:gd name="T42" fmla="*/ 28 w 367"/>
                <a:gd name="T43" fmla="*/ 163 h 293"/>
                <a:gd name="T44" fmla="*/ 34 w 367"/>
                <a:gd name="T45" fmla="*/ 163 h 293"/>
                <a:gd name="T46" fmla="*/ 40 w 367"/>
                <a:gd name="T47" fmla="*/ 166 h 293"/>
                <a:gd name="T48" fmla="*/ 44 w 367"/>
                <a:gd name="T49" fmla="*/ 169 h 293"/>
                <a:gd name="T50" fmla="*/ 48 w 367"/>
                <a:gd name="T51" fmla="*/ 173 h 293"/>
                <a:gd name="T52" fmla="*/ 48 w 367"/>
                <a:gd name="T53" fmla="*/ 173 h 293"/>
                <a:gd name="T54" fmla="*/ 104 w 367"/>
                <a:gd name="T55" fmla="*/ 224 h 293"/>
                <a:gd name="T56" fmla="*/ 104 w 367"/>
                <a:gd name="T57" fmla="*/ 224 h 293"/>
                <a:gd name="T58" fmla="*/ 318 w 367"/>
                <a:gd name="T59" fmla="*/ 10 h 293"/>
                <a:gd name="T60" fmla="*/ 318 w 367"/>
                <a:gd name="T61" fmla="*/ 10 h 293"/>
                <a:gd name="T62" fmla="*/ 321 w 367"/>
                <a:gd name="T63" fmla="*/ 6 h 293"/>
                <a:gd name="T64" fmla="*/ 327 w 367"/>
                <a:gd name="T65" fmla="*/ 3 h 293"/>
                <a:gd name="T66" fmla="*/ 331 w 367"/>
                <a:gd name="T67" fmla="*/ 0 h 293"/>
                <a:gd name="T68" fmla="*/ 337 w 367"/>
                <a:gd name="T69" fmla="*/ 0 h 293"/>
                <a:gd name="T70" fmla="*/ 343 w 367"/>
                <a:gd name="T71" fmla="*/ 0 h 293"/>
                <a:gd name="T72" fmla="*/ 349 w 367"/>
                <a:gd name="T73" fmla="*/ 3 h 293"/>
                <a:gd name="T74" fmla="*/ 353 w 367"/>
                <a:gd name="T75" fmla="*/ 6 h 293"/>
                <a:gd name="T76" fmla="*/ 357 w 367"/>
                <a:gd name="T77" fmla="*/ 10 h 293"/>
                <a:gd name="T78" fmla="*/ 357 w 367"/>
                <a:gd name="T79" fmla="*/ 10 h 293"/>
                <a:gd name="T80" fmla="*/ 361 w 367"/>
                <a:gd name="T81" fmla="*/ 14 h 293"/>
                <a:gd name="T82" fmla="*/ 364 w 367"/>
                <a:gd name="T83" fmla="*/ 18 h 293"/>
                <a:gd name="T84" fmla="*/ 366 w 367"/>
                <a:gd name="T85" fmla="*/ 24 h 293"/>
                <a:gd name="T86" fmla="*/ 367 w 367"/>
                <a:gd name="T87" fmla="*/ 30 h 293"/>
                <a:gd name="T88" fmla="*/ 366 w 367"/>
                <a:gd name="T89" fmla="*/ 36 h 293"/>
                <a:gd name="T90" fmla="*/ 364 w 367"/>
                <a:gd name="T91" fmla="*/ 41 h 293"/>
                <a:gd name="T92" fmla="*/ 361 w 367"/>
                <a:gd name="T93" fmla="*/ 47 h 293"/>
                <a:gd name="T94" fmla="*/ 357 w 367"/>
                <a:gd name="T95" fmla="*/ 51 h 293"/>
                <a:gd name="T96" fmla="*/ 357 w 367"/>
                <a:gd name="T97" fmla="*/ 51 h 293"/>
                <a:gd name="T98" fmla="*/ 123 w 367"/>
                <a:gd name="T99" fmla="*/ 287 h 293"/>
                <a:gd name="T100" fmla="*/ 123 w 367"/>
                <a:gd name="T101" fmla="*/ 287 h 293"/>
                <a:gd name="T102" fmla="*/ 118 w 367"/>
                <a:gd name="T103" fmla="*/ 290 h 293"/>
                <a:gd name="T104" fmla="*/ 113 w 367"/>
                <a:gd name="T105" fmla="*/ 293 h 293"/>
                <a:gd name="T106" fmla="*/ 104 w 367"/>
                <a:gd name="T107" fmla="*/ 293 h 293"/>
                <a:gd name="T108" fmla="*/ 104 w 367"/>
                <a:gd name="T109" fmla="*/ 293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7" h="293">
                  <a:moveTo>
                    <a:pt x="104" y="293"/>
                  </a:moveTo>
                  <a:lnTo>
                    <a:pt x="104" y="293"/>
                  </a:lnTo>
                  <a:lnTo>
                    <a:pt x="97" y="293"/>
                  </a:lnTo>
                  <a:lnTo>
                    <a:pt x="91" y="293"/>
                  </a:lnTo>
                  <a:lnTo>
                    <a:pt x="85" y="290"/>
                  </a:lnTo>
                  <a:lnTo>
                    <a:pt x="81" y="287"/>
                  </a:lnTo>
                  <a:lnTo>
                    <a:pt x="81" y="287"/>
                  </a:lnTo>
                  <a:lnTo>
                    <a:pt x="10" y="211"/>
                  </a:lnTo>
                  <a:lnTo>
                    <a:pt x="10" y="211"/>
                  </a:lnTo>
                  <a:lnTo>
                    <a:pt x="5" y="207"/>
                  </a:lnTo>
                  <a:lnTo>
                    <a:pt x="1" y="203"/>
                  </a:lnTo>
                  <a:lnTo>
                    <a:pt x="0" y="197"/>
                  </a:lnTo>
                  <a:lnTo>
                    <a:pt x="0" y="191"/>
                  </a:lnTo>
                  <a:lnTo>
                    <a:pt x="0" y="187"/>
                  </a:lnTo>
                  <a:lnTo>
                    <a:pt x="1" y="181"/>
                  </a:lnTo>
                  <a:lnTo>
                    <a:pt x="5" y="177"/>
                  </a:lnTo>
                  <a:lnTo>
                    <a:pt x="10" y="173"/>
                  </a:lnTo>
                  <a:lnTo>
                    <a:pt x="10" y="173"/>
                  </a:lnTo>
                  <a:lnTo>
                    <a:pt x="13" y="169"/>
                  </a:lnTo>
                  <a:lnTo>
                    <a:pt x="18" y="166"/>
                  </a:lnTo>
                  <a:lnTo>
                    <a:pt x="23" y="163"/>
                  </a:lnTo>
                  <a:lnTo>
                    <a:pt x="28" y="163"/>
                  </a:lnTo>
                  <a:lnTo>
                    <a:pt x="34" y="163"/>
                  </a:lnTo>
                  <a:lnTo>
                    <a:pt x="40" y="166"/>
                  </a:lnTo>
                  <a:lnTo>
                    <a:pt x="44" y="169"/>
                  </a:lnTo>
                  <a:lnTo>
                    <a:pt x="48" y="173"/>
                  </a:lnTo>
                  <a:lnTo>
                    <a:pt x="48" y="173"/>
                  </a:lnTo>
                  <a:lnTo>
                    <a:pt x="104" y="224"/>
                  </a:lnTo>
                  <a:lnTo>
                    <a:pt x="104" y="224"/>
                  </a:lnTo>
                  <a:lnTo>
                    <a:pt x="318" y="10"/>
                  </a:lnTo>
                  <a:lnTo>
                    <a:pt x="318" y="10"/>
                  </a:lnTo>
                  <a:lnTo>
                    <a:pt x="321" y="6"/>
                  </a:lnTo>
                  <a:lnTo>
                    <a:pt x="327" y="3"/>
                  </a:lnTo>
                  <a:lnTo>
                    <a:pt x="331" y="0"/>
                  </a:lnTo>
                  <a:lnTo>
                    <a:pt x="337" y="0"/>
                  </a:lnTo>
                  <a:lnTo>
                    <a:pt x="343" y="0"/>
                  </a:lnTo>
                  <a:lnTo>
                    <a:pt x="349" y="3"/>
                  </a:lnTo>
                  <a:lnTo>
                    <a:pt x="353" y="6"/>
                  </a:lnTo>
                  <a:lnTo>
                    <a:pt x="357" y="10"/>
                  </a:lnTo>
                  <a:lnTo>
                    <a:pt x="357" y="10"/>
                  </a:lnTo>
                  <a:lnTo>
                    <a:pt x="361" y="14"/>
                  </a:lnTo>
                  <a:lnTo>
                    <a:pt x="364" y="18"/>
                  </a:lnTo>
                  <a:lnTo>
                    <a:pt x="366" y="24"/>
                  </a:lnTo>
                  <a:lnTo>
                    <a:pt x="367" y="30"/>
                  </a:lnTo>
                  <a:lnTo>
                    <a:pt x="366" y="36"/>
                  </a:lnTo>
                  <a:lnTo>
                    <a:pt x="364" y="41"/>
                  </a:lnTo>
                  <a:lnTo>
                    <a:pt x="361" y="47"/>
                  </a:lnTo>
                  <a:lnTo>
                    <a:pt x="357" y="51"/>
                  </a:lnTo>
                  <a:lnTo>
                    <a:pt x="357" y="51"/>
                  </a:lnTo>
                  <a:lnTo>
                    <a:pt x="123" y="287"/>
                  </a:lnTo>
                  <a:lnTo>
                    <a:pt x="123" y="287"/>
                  </a:lnTo>
                  <a:lnTo>
                    <a:pt x="118" y="290"/>
                  </a:lnTo>
                  <a:lnTo>
                    <a:pt x="113" y="293"/>
                  </a:lnTo>
                  <a:lnTo>
                    <a:pt x="104" y="293"/>
                  </a:lnTo>
                  <a:lnTo>
                    <a:pt x="104" y="293"/>
                  </a:lnTo>
                  <a:close/>
                </a:path>
              </a:pathLst>
            </a:custGeom>
            <a:solidFill>
              <a:srgbClr val="49CF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20266587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F6B9B2-2614-43BD-B4DD-DD09109E2B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D15079-E34A-4F93-8126-EA2382C9331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ECBFCE-E4C4-457E-A6E7-C62CAF78408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542EABF-1E3B-4521-9A28-8FBEEA0251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ECF27-5B15-452C-913D-AEAC3B17AB5B}" type="datetimeFigureOut">
              <a:rPr lang="en-SG" smtClean="0"/>
              <a:t>23/2/2022</a:t>
            </a:fld>
            <a:endParaRPr lang="en-SG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E055BAB-F4F4-4E88-8D5D-BE90438573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41FA4F9-6E8C-4ED8-9A20-ED398C0DE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A2F90-3EC6-4909-A0D7-4206B66F09F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1506153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D728C1-41AB-42F0-AE85-1653072860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E8EB02-3081-4B47-8B86-2121DACD21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85BC362-D135-4D9D-AB0E-57F5CDCF841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CAB183-6210-4B8B-A137-951C2E25E59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8167EA2-4DC1-4F45-9036-9211F85B334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49AE1D6-5559-4DC2-9D3E-172C6783E4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ECF27-5B15-452C-913D-AEAC3B17AB5B}" type="datetimeFigureOut">
              <a:rPr lang="en-SG" smtClean="0"/>
              <a:t>23/2/2022</a:t>
            </a:fld>
            <a:endParaRPr lang="en-SG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119273A-6902-4D7F-ABA0-25C495F40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B9DD466-DC50-4F65-A662-3E1F98553D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A2F90-3EC6-4909-A0D7-4206B66F09F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352773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FAF36C-68F6-4215-87C2-968FEE4FB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A7DFAEC-2353-4E63-B5CE-325CF6897F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ECF27-5B15-452C-913D-AEAC3B17AB5B}" type="datetimeFigureOut">
              <a:rPr lang="en-SG" smtClean="0"/>
              <a:t>23/2/2022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6388A1-F04C-4941-AE77-0AE6C2BB79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3B81E5-B720-40C3-A174-CDA436F04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A2F90-3EC6-4909-A0D7-4206B66F09F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0486681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1512B9-F178-4797-BCFE-53401B196B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ECF27-5B15-452C-913D-AEAC3B17AB5B}" type="datetimeFigureOut">
              <a:rPr lang="en-SG" smtClean="0"/>
              <a:t>23/2/2022</a:t>
            </a:fld>
            <a:endParaRPr lang="en-SG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658B7-D4A2-4D0A-86F0-27CB7E5E00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7564FF-4600-4B5E-9355-9F8D9A540F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A2F90-3EC6-4909-A0D7-4206B66F09F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803037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7EC12C-C502-4121-A8A9-84D0EAFC0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799229-3823-498F-9A6C-4C8A55C00E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B78AE2-1AAA-445F-A544-F9402AD9FC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D285262-C39C-4D11-9C38-0FD9A7104B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ECF27-5B15-452C-913D-AEAC3B17AB5B}" type="datetimeFigureOut">
              <a:rPr lang="en-SG" smtClean="0"/>
              <a:t>23/2/2022</a:t>
            </a:fld>
            <a:endParaRPr lang="en-SG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A4A8A8-CD98-4E9E-A26D-5BB052401C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C7594B-F806-4ED7-BB1B-3854CB5883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A2F90-3EC6-4909-A0D7-4206B66F09F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3477694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B07500-F1FC-49CA-8888-04B38FDCFB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AE1EE2-C03D-48EC-A6E2-DC391A43898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SG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464739-FAF3-4EA1-8C47-0D5135DBC9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4F71DA-801C-4F5C-B215-D6B4882D7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ECF27-5B15-452C-913D-AEAC3B17AB5B}" type="datetimeFigureOut">
              <a:rPr lang="en-SG" smtClean="0"/>
              <a:t>23/2/2022</a:t>
            </a:fld>
            <a:endParaRPr lang="en-SG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EAD874-93E3-442B-A5DA-8624EE723B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1E0DAA-B739-44EB-B657-89C21F102F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A2F90-3EC6-4909-A0D7-4206B66F09F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2132289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9C9EA4-4000-4AD9-8C2E-94F84ECF13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539753-8E1A-462A-BAE7-84480D4485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637E25-48F6-47FE-AB6B-230B2959F0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DECF27-5B15-452C-913D-AEAC3B17AB5B}" type="datetimeFigureOut">
              <a:rPr lang="en-SG" smtClean="0"/>
              <a:t>23/2/2022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8C6AEA-D1F3-4C09-AF64-ABC8912863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64D182-EBF8-490D-91E2-EC1E5E0866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2A2F90-3EC6-4909-A0D7-4206B66F09F0}" type="slidenum">
              <a:rPr lang="en-SG" smtClean="0"/>
              <a:t>‹#›</a:t>
            </a:fld>
            <a:endParaRPr lang="en-SG"/>
          </a:p>
        </p:txBody>
      </p:sp>
      <p:sp>
        <p:nvSpPr>
          <p:cNvPr id="7" name="MSIPCMContentMarking" descr="{&quot;HashCode&quot;:2073836431,&quot;Placement&quot;:&quot;Footer&quot;,&quot;Top&quot;:519.343,&quot;Left&quot;:396.6059,&quot;SlideWidth&quot;:960,&quot;SlideHeight&quot;:540}">
            <a:extLst>
              <a:ext uri="{FF2B5EF4-FFF2-40B4-BE49-F238E27FC236}">
                <a16:creationId xmlns:a16="http://schemas.microsoft.com/office/drawing/2014/main" id="{1EC9E6E2-361B-470B-927F-DFD7D32CB7F8}"/>
              </a:ext>
            </a:extLst>
          </p:cNvPr>
          <p:cNvSpPr txBox="1"/>
          <p:nvPr userDrawn="1"/>
        </p:nvSpPr>
        <p:spPr>
          <a:xfrm>
            <a:off x="5036895" y="6595656"/>
            <a:ext cx="211821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Internal Use Only General Business</a:t>
            </a:r>
            <a:endParaRPr lang="en-SG" sz="10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33675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1" r:id="rId12"/>
    <p:sldLayoutId id="214748369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3686" y="6344667"/>
            <a:ext cx="1090476" cy="258597"/>
          </a:xfrm>
          <a:prstGeom prst="rect">
            <a:avLst/>
          </a:prstGeom>
        </p:spPr>
      </p:pic>
      <p:sp>
        <p:nvSpPr>
          <p:cNvPr id="21" name="Rectangle 20"/>
          <p:cNvSpPr>
            <a:spLocks noGrp="1" noChangeArrowheads="1"/>
          </p:cNvSpPr>
          <p:nvPr/>
        </p:nvSpPr>
        <p:spPr bwMode="gray">
          <a:xfrm>
            <a:off x="5541264" y="6254144"/>
            <a:ext cx="1109472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776022">
              <a:defRPr/>
            </a:pPr>
            <a:fld id="{5909AF01-7EFE-4A29-B021-8BA707099C41}" type="slidenum">
              <a:rPr lang="en-US" sz="933">
                <a:solidFill>
                  <a:srgbClr val="716F73"/>
                </a:solidFill>
                <a:latin typeface="Arial"/>
              </a:rPr>
              <a:pPr defTabSz="776022">
                <a:defRPr/>
              </a:pPr>
              <a:t>‹#›</a:t>
            </a:fld>
            <a:endParaRPr lang="en-US" sz="933" dirty="0">
              <a:solidFill>
                <a:srgbClr val="716F73"/>
              </a:solidFill>
              <a:latin typeface="Arial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84717" y="1706882"/>
            <a:ext cx="11222376" cy="415263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84718" y="617601"/>
            <a:ext cx="11222567" cy="625877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MSIPCMContentMarking" descr="{&quot;HashCode&quot;:2073836431,&quot;Placement&quot;:&quot;Footer&quot;,&quot;Top&quot;:519.343,&quot;Left&quot;:396.6059,&quot;SlideWidth&quot;:960,&quot;SlideHeight&quot;:540}">
            <a:extLst>
              <a:ext uri="{FF2B5EF4-FFF2-40B4-BE49-F238E27FC236}">
                <a16:creationId xmlns:a16="http://schemas.microsoft.com/office/drawing/2014/main" id="{F2150EEE-2F80-45DA-AA25-3E639FE499A6}"/>
              </a:ext>
            </a:extLst>
          </p:cNvPr>
          <p:cNvSpPr txBox="1"/>
          <p:nvPr userDrawn="1"/>
        </p:nvSpPr>
        <p:spPr>
          <a:xfrm>
            <a:off x="5036895" y="6595656"/>
            <a:ext cx="211821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b="1">
                <a:solidFill>
                  <a:srgbClr val="000000"/>
                </a:solidFill>
                <a:latin typeface="Calibri" panose="020F0502020204030204" pitchFamily="34" charset="0"/>
              </a:rPr>
              <a:t>Internal Use Only General Business</a:t>
            </a:r>
            <a:endParaRPr lang="en-SG" sz="10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7002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90" r:id="rId25"/>
  </p:sldLayoutIdLst>
  <p:transition>
    <p:fade/>
  </p:transition>
  <p:hf hdr="0"/>
  <p:txStyles>
    <p:titleStyle>
      <a:lvl1pPr algn="l" defTabSz="380924" rtl="0" eaLnBrk="1" latinLnBrk="0" hangingPunct="1">
        <a:lnSpc>
          <a:spcPct val="100000"/>
        </a:lnSpc>
        <a:spcBef>
          <a:spcPct val="0"/>
        </a:spcBef>
        <a:buNone/>
        <a:defRPr sz="3467" b="1" kern="1200" cap="all" spc="0" baseline="0">
          <a:solidFill>
            <a:schemeClr val="accent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309019" indent="-309019" algn="l" defTabSz="380924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defRPr sz="2933" b="1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609570" indent="-300551" algn="l" defTabSz="380924" rtl="0" eaLnBrk="1" latinLnBrk="0" hangingPunct="1">
        <a:lnSpc>
          <a:spcPct val="100000"/>
        </a:lnSpc>
        <a:spcBef>
          <a:spcPts val="533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–"/>
        <a:defRPr sz="2667" b="1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918588" indent="-309019" algn="l" defTabSz="380924" rtl="0" eaLnBrk="1" latinLnBrk="0" hangingPunct="1">
        <a:lnSpc>
          <a:spcPct val="100000"/>
        </a:lnSpc>
        <a:spcBef>
          <a:spcPts val="533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defRPr sz="2400" b="1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1219140" indent="-300551" algn="l" defTabSz="380924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SzPct val="90000"/>
        <a:buFont typeface="Arial" panose="020B0604020202020204" pitchFamily="34" charset="0"/>
        <a:buChar char="–"/>
        <a:defRPr sz="2133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445612" indent="-226473" algn="l" defTabSz="380924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SzPct val="90000"/>
        <a:buFont typeface="Arial" panose="020B0604020202020204" pitchFamily="34" charset="0"/>
        <a:buChar char="•"/>
        <a:defRPr sz="1867" b="1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952311" indent="0" algn="l" defTabSz="380924" rtl="0" eaLnBrk="1" latinLnBrk="0" hangingPunct="1">
        <a:lnSpc>
          <a:spcPct val="90000"/>
        </a:lnSpc>
        <a:spcBef>
          <a:spcPts val="208"/>
        </a:spcBef>
        <a:buFont typeface="Arial" panose="020B0604020202020204" pitchFamily="34" charset="0"/>
        <a:buNone/>
        <a:defRPr sz="751" kern="1200">
          <a:solidFill>
            <a:schemeClr val="tx1"/>
          </a:solidFill>
          <a:latin typeface="+mn-lt"/>
          <a:ea typeface="+mn-ea"/>
          <a:cs typeface="+mn-cs"/>
        </a:defRPr>
      </a:lvl6pPr>
      <a:lvl7pPr marL="1238004" indent="-95232" algn="l" defTabSz="380924" rtl="0" eaLnBrk="1" latinLnBrk="0" hangingPunct="1">
        <a:lnSpc>
          <a:spcPct val="90000"/>
        </a:lnSpc>
        <a:spcBef>
          <a:spcPts val="208"/>
        </a:spcBef>
        <a:buFont typeface="Arial" panose="020B0604020202020204" pitchFamily="34" charset="0"/>
        <a:buChar char="•"/>
        <a:defRPr sz="751" kern="1200">
          <a:solidFill>
            <a:schemeClr val="tx1"/>
          </a:solidFill>
          <a:latin typeface="+mn-lt"/>
          <a:ea typeface="+mn-ea"/>
          <a:cs typeface="+mn-cs"/>
        </a:defRPr>
      </a:lvl7pPr>
      <a:lvl8pPr marL="1428467" indent="-95232" algn="l" defTabSz="380924" rtl="0" eaLnBrk="1" latinLnBrk="0" hangingPunct="1">
        <a:lnSpc>
          <a:spcPct val="90000"/>
        </a:lnSpc>
        <a:spcBef>
          <a:spcPts val="208"/>
        </a:spcBef>
        <a:buFont typeface="Arial" panose="020B0604020202020204" pitchFamily="34" charset="0"/>
        <a:buChar char="•"/>
        <a:defRPr sz="751" kern="1200">
          <a:solidFill>
            <a:schemeClr val="tx1"/>
          </a:solidFill>
          <a:latin typeface="+mn-lt"/>
          <a:ea typeface="+mn-ea"/>
          <a:cs typeface="+mn-cs"/>
        </a:defRPr>
      </a:lvl8pPr>
      <a:lvl9pPr marL="1618929" indent="-95232" algn="l" defTabSz="380924" rtl="0" eaLnBrk="1" latinLnBrk="0" hangingPunct="1">
        <a:lnSpc>
          <a:spcPct val="90000"/>
        </a:lnSpc>
        <a:spcBef>
          <a:spcPts val="208"/>
        </a:spcBef>
        <a:buFont typeface="Arial" panose="020B0604020202020204" pitchFamily="34" charset="0"/>
        <a:buChar char="•"/>
        <a:defRPr sz="7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80924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1pPr>
      <a:lvl2pPr marL="190462" algn="l" defTabSz="380924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2pPr>
      <a:lvl3pPr marL="380924" algn="l" defTabSz="380924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3pPr>
      <a:lvl4pPr marL="571386" algn="l" defTabSz="380924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4pPr>
      <a:lvl5pPr marL="761849" algn="l" defTabSz="380924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5pPr>
      <a:lvl6pPr marL="952311" algn="l" defTabSz="380924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6pPr>
      <a:lvl7pPr marL="1142773" algn="l" defTabSz="380924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7pPr>
      <a:lvl8pPr marL="1333235" algn="l" defTabSz="380924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8pPr>
      <a:lvl9pPr marL="1523697" algn="l" defTabSz="380924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1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3.xml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5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7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nam11.safelinks.protection.outlook.com/?url=https%3A%2F%2Fyoutu.be%2F10_MkXNMpVw&amp;data=04%7C01%7Cjtan15%40amgen.com%7Ccda6c47d74784a5322d108d9cf5b12f0%7C4b4266a6136841afad5a59eb634f7ad8%7C0%7C0%7C637768813226631503%7CUnknown%7CTWFpbGZsb3d8eyJWIjoiMC4wLjAwMDAiLCJQIjoiV2luMzIiLCJBTiI6Ik1haWwiLCJXVCI6Mn0%3D%7C0&amp;sdata=1oN7%2FfMklWqDdkP9qrMgVNpbFLjhMBrh7VVbwJ7Vx88%3D&amp;reserved=0" TargetMode="Externa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slideLayout" Target="../slideLayouts/slideLayout22.xml"/><Relationship Id="rId1" Type="http://schemas.openxmlformats.org/officeDocument/2006/relationships/video" Target="https://www.youtube.com/embed/10_MkXNMpVw?feature=oembed" TargetMode="Externa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Relationship Id="rId9" Type="http://schemas.openxmlformats.org/officeDocument/2006/relationships/image" Target="../media/image27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9.xml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9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3.xml"/><Relationship Id="rId4" Type="http://schemas.openxmlformats.org/officeDocument/2006/relationships/image" Target="../media/image3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5.xml"/><Relationship Id="rId4" Type="http://schemas.openxmlformats.org/officeDocument/2006/relationships/image" Target="../media/image34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13" Type="http://schemas.openxmlformats.org/officeDocument/2006/relationships/image" Target="../media/image44.png"/><Relationship Id="rId18" Type="http://schemas.openxmlformats.org/officeDocument/2006/relationships/image" Target="../media/image49.sv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38.png"/><Relationship Id="rId12" Type="http://schemas.openxmlformats.org/officeDocument/2006/relationships/image" Target="../media/image43.png"/><Relationship Id="rId17" Type="http://schemas.openxmlformats.org/officeDocument/2006/relationships/image" Target="../media/image48.png"/><Relationship Id="rId2" Type="http://schemas.openxmlformats.org/officeDocument/2006/relationships/slideLayout" Target="../slideLayouts/slideLayout33.xml"/><Relationship Id="rId16" Type="http://schemas.openxmlformats.org/officeDocument/2006/relationships/image" Target="../media/image47.svg"/><Relationship Id="rId1" Type="http://schemas.openxmlformats.org/officeDocument/2006/relationships/tags" Target="../tags/tag27.xml"/><Relationship Id="rId6" Type="http://schemas.openxmlformats.org/officeDocument/2006/relationships/image" Target="../media/image37.pn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5" Type="http://schemas.openxmlformats.org/officeDocument/2006/relationships/image" Target="../media/image46.png"/><Relationship Id="rId10" Type="http://schemas.openxmlformats.org/officeDocument/2006/relationships/image" Target="../media/image41.svg"/><Relationship Id="rId19" Type="http://schemas.openxmlformats.org/officeDocument/2006/relationships/image" Target="../media/image50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Relationship Id="rId14" Type="http://schemas.openxmlformats.org/officeDocument/2006/relationships/image" Target="../media/image45.sv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C8900A9-E9FC-4827-8778-792177B8033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680" r="1" b="6307"/>
          <a:stretch/>
        </p:blipFill>
        <p:spPr>
          <a:xfrm>
            <a:off x="0" y="68263"/>
            <a:ext cx="12192000" cy="61182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77907405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318D88A3-AF04-469A-8620-20E89231AD1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4"/>
          <a:srcRect l="1182" r="1182"/>
          <a:stretch/>
        </p:blipFill>
        <p:spPr>
          <a:xfrm>
            <a:off x="2" y="1343609"/>
            <a:ext cx="7534273" cy="4735459"/>
          </a:xfrm>
        </p:spPr>
      </p:pic>
      <p:sp>
        <p:nvSpPr>
          <p:cNvPr id="2" name="BJPseudoFooter">
            <a:extLst>
              <a:ext uri="{FF2B5EF4-FFF2-40B4-BE49-F238E27FC236}">
                <a16:creationId xmlns:a16="http://schemas.microsoft.com/office/drawing/2014/main" id="{30095DC5-5A33-4D43-B3EB-FE9169F1C43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7534275" y="1344086"/>
            <a:ext cx="4657728" cy="4734983"/>
          </a:xfrm>
          <a:prstGeom prst="rect">
            <a:avLst/>
          </a:prstGeom>
          <a:solidFill>
            <a:schemeClr val="accent1"/>
          </a:solidFill>
        </p:spPr>
        <p:txBody>
          <a:bodyPr vert="horz" rtlCol="0" anchor="ctr">
            <a:norm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dirty="0">
                <a:solidFill>
                  <a:srgbClr val="FFFFFF"/>
                </a:solidFill>
                <a:latin typeface="Arial"/>
              </a:rPr>
              <a:t>Low hanging fruits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dirty="0">
                <a:solidFill>
                  <a:srgbClr val="FFFFFF"/>
                </a:solidFill>
                <a:latin typeface="Arial"/>
              </a:rPr>
              <a:t>Must-do improvements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ng term improvements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dirty="0">
                <a:solidFill>
                  <a:srgbClr val="FFFFFF"/>
                </a:solidFill>
                <a:latin typeface="Arial"/>
              </a:rPr>
              <a:t>Technical considerations</a:t>
            </a:r>
            <a:endParaRPr kumimoji="0" lang="en-SG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35D6746-41D2-43B7-B3FF-1A6175398D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719" y="617711"/>
            <a:ext cx="11222567" cy="625877"/>
          </a:xfrm>
        </p:spPr>
        <p:txBody>
          <a:bodyPr wrap="square" anchor="b">
            <a:normAutofit/>
          </a:bodyPr>
          <a:lstStyle/>
          <a:p>
            <a:r>
              <a:rPr lang="en-US" dirty="0"/>
              <a:t>RPA process assessment matrix </a:t>
            </a:r>
            <a:r>
              <a:rPr lang="en-US" sz="2800" dirty="0"/>
              <a:t>(RPA COE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99FAE21-C7D9-437D-8FD3-54CFA101F441}"/>
              </a:ext>
            </a:extLst>
          </p:cNvPr>
          <p:cNvSpPr txBox="1"/>
          <p:nvPr/>
        </p:nvSpPr>
        <p:spPr>
          <a:xfrm>
            <a:off x="1781174" y="4176704"/>
            <a:ext cx="4667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endParaRPr lang="en-SG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A1A0B72-25E3-4A6A-BF43-8F42201E2B13}"/>
              </a:ext>
            </a:extLst>
          </p:cNvPr>
          <p:cNvSpPr txBox="1"/>
          <p:nvPr/>
        </p:nvSpPr>
        <p:spPr>
          <a:xfrm>
            <a:off x="4652962" y="3128954"/>
            <a:ext cx="4762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8</a:t>
            </a:r>
            <a:endParaRPr lang="en-SG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F5B583E-F9E5-484A-BA65-ECB14FA6AE59}"/>
              </a:ext>
            </a:extLst>
          </p:cNvPr>
          <p:cNvSpPr txBox="1"/>
          <p:nvPr/>
        </p:nvSpPr>
        <p:spPr>
          <a:xfrm>
            <a:off x="3028950" y="2728844"/>
            <a:ext cx="4667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6</a:t>
            </a:r>
            <a:endParaRPr lang="en-SG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3959181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ABD70B61-58D3-43B7-927C-D6BB497C4F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7541" y="6384000"/>
            <a:ext cx="9264000" cy="240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GB"/>
              <a:t>Confidential – do not distribute</a:t>
            </a: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4F76178B-C0A2-4FD2-8675-42AFB845A4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716" y="496123"/>
            <a:ext cx="11222567" cy="625877"/>
          </a:xfrm>
        </p:spPr>
        <p:txBody>
          <a:bodyPr/>
          <a:lstStyle/>
          <a:p>
            <a:r>
              <a:rPr lang="en-US" dirty="0"/>
              <a:t>Smartsheet – RPA ideation </a:t>
            </a:r>
            <a:r>
              <a:rPr lang="en-US" sz="2800" dirty="0"/>
              <a:t>(RPA Champions)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385A3AEE-5DDF-4DB9-ABB6-9BDC5E1998F5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 rotWithShape="1">
          <a:blip r:embed="rId2"/>
          <a:stretch/>
        </p:blipFill>
        <p:spPr>
          <a:xfrm>
            <a:off x="1216985" y="1320000"/>
            <a:ext cx="9759118" cy="4522000"/>
          </a:xfrm>
          <a:noFill/>
        </p:spPr>
      </p:pic>
    </p:spTree>
    <p:extLst>
      <p:ext uri="{BB962C8B-B14F-4D97-AF65-F5344CB8AC3E}">
        <p14:creationId xmlns:p14="http://schemas.microsoft.com/office/powerpoint/2010/main" val="320090731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45B147B-A9F2-456A-ACD6-EC4F543B9A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4719" y="1683069"/>
            <a:ext cx="7348641" cy="4057016"/>
          </a:xfrm>
          <a:prstGeom prst="rect">
            <a:avLst/>
          </a:prstGeom>
          <a:noFill/>
        </p:spPr>
      </p:pic>
      <p:sp>
        <p:nvSpPr>
          <p:cNvPr id="2" name="BJPseudoFooter">
            <a:extLst>
              <a:ext uri="{FF2B5EF4-FFF2-40B4-BE49-F238E27FC236}">
                <a16:creationId xmlns:a16="http://schemas.microsoft.com/office/drawing/2014/main" id="{30095DC5-5A33-4D43-B3EB-FE9169F1C43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7833361" y="1524000"/>
            <a:ext cx="4358642" cy="4555069"/>
          </a:xfrm>
          <a:prstGeom prst="rect">
            <a:avLst/>
          </a:prstGeom>
          <a:solidFill>
            <a:schemeClr val="accent1"/>
          </a:solidFill>
        </p:spPr>
        <p:txBody>
          <a:bodyPr vert="horz" lIns="182880" tIns="45720" rIns="274320" bIns="45720" rtlCol="0" anchor="ctr">
            <a:normAutofit/>
          </a:bodyPr>
          <a:lstStyle/>
          <a:p>
            <a:pPr marL="0" marR="0" lvl="0" indent="0" defTabSz="380924" fontAlgn="auto">
              <a:spcBef>
                <a:spcPts val="0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en-US" sz="2000" b="1" dirty="0">
                <a:solidFill>
                  <a:schemeClr val="bg1"/>
                </a:solidFill>
              </a:rPr>
              <a:t>RPA filters and identifies Key Word ‘S_AH’ in ‘Line Description’ column</a:t>
            </a:r>
          </a:p>
          <a:p>
            <a:pPr marL="0" marR="0" lvl="0" indent="0" defTabSz="380924" fontAlgn="auto">
              <a:spcBef>
                <a:spcPts val="0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None/>
              <a:tabLst/>
              <a:defRPr/>
            </a:pPr>
            <a:endParaRPr lang="en-US" sz="2000" b="1" dirty="0">
              <a:solidFill>
                <a:schemeClr val="bg1"/>
              </a:solidFill>
            </a:endParaRPr>
          </a:p>
          <a:p>
            <a:pPr marL="0" marR="0" lvl="0" indent="0" defTabSz="380924" fontAlgn="auto">
              <a:spcBef>
                <a:spcPts val="0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en-US" sz="2000" b="1" dirty="0">
                <a:solidFill>
                  <a:schemeClr val="bg1"/>
                </a:solidFill>
              </a:rPr>
              <a:t>PO allocated to ‘Engineering Ad hoc’ expenses</a:t>
            </a:r>
            <a:endParaRPr kumimoji="0" lang="en-US" sz="2000" b="1" i="0" u="none" strike="noStrike" cap="none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35D6746-41D2-43B7-B3FF-1A6175398D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719" y="617711"/>
            <a:ext cx="11222567" cy="625877"/>
          </a:xfrm>
        </p:spPr>
        <p:txBody>
          <a:bodyPr vert="horz" wrap="square" lIns="91440" tIns="45720" rIns="91440" bIns="45720" rtlCol="0" anchor="b" anchorCtr="0">
            <a:normAutofit/>
          </a:bodyPr>
          <a:lstStyle/>
          <a:p>
            <a:r>
              <a:rPr lang="en-US" b="1" kern="1200" cap="all" spc="0" baseline="0" dirty="0">
                <a:latin typeface="Calibri" panose="020F0502020204030204" pitchFamily="34" charset="0"/>
                <a:ea typeface="+mj-ea"/>
                <a:cs typeface="+mj-cs"/>
              </a:rPr>
              <a:t>RPA use case – po expenses allocation</a:t>
            </a:r>
          </a:p>
        </p:txBody>
      </p:sp>
    </p:spTree>
    <p:extLst>
      <p:ext uri="{BB962C8B-B14F-4D97-AF65-F5344CB8AC3E}">
        <p14:creationId xmlns:p14="http://schemas.microsoft.com/office/powerpoint/2010/main" val="183018561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JPseudoFooter">
            <a:extLst>
              <a:ext uri="{FF2B5EF4-FFF2-40B4-BE49-F238E27FC236}">
                <a16:creationId xmlns:a16="http://schemas.microsoft.com/office/drawing/2014/main" id="{30095DC5-5A33-4D43-B3EB-FE9169F1C43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7053943" y="1524000"/>
            <a:ext cx="5138059" cy="4555069"/>
          </a:xfrm>
          <a:prstGeom prst="rect">
            <a:avLst/>
          </a:prstGeom>
          <a:solidFill>
            <a:schemeClr val="accent1"/>
          </a:solidFill>
        </p:spPr>
        <p:txBody>
          <a:bodyPr vert="horz" lIns="182880" tIns="45720" rIns="274320" bIns="45720" rtlCol="0" anchor="ctr">
            <a:normAutofit/>
          </a:bodyPr>
          <a:lstStyle/>
          <a:p>
            <a:pPr marL="457200" marR="0" lvl="0" indent="-457200" algn="l" defTabSz="380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PA scans and iterates through data Rows</a:t>
            </a:r>
          </a:p>
          <a:p>
            <a:pPr marL="457200" marR="0" lvl="0" indent="-457200" algn="l" defTabSz="380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200" marR="0" lvl="0" indent="-457200" algn="l" defTabSz="3809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PA fills in ‘Engineering’ and ‘2 - Ad hoc’ in ‘Budget Owner’ and ‘Category’ columns respective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35D6746-41D2-43B7-B3FF-1A6175398D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719" y="617711"/>
            <a:ext cx="11222567" cy="625877"/>
          </a:xfrm>
        </p:spPr>
        <p:txBody>
          <a:bodyPr vert="horz" wrap="square" lIns="91440" tIns="45720" rIns="91440" bIns="45720" rtlCol="0" anchor="b" anchorCtr="0">
            <a:normAutofit/>
          </a:bodyPr>
          <a:lstStyle/>
          <a:p>
            <a:r>
              <a:rPr lang="en-US" b="1" kern="1200" cap="all" spc="0" baseline="0" dirty="0">
                <a:latin typeface="Calibri" panose="020F0502020204030204" pitchFamily="34" charset="0"/>
                <a:ea typeface="+mj-ea"/>
                <a:cs typeface="+mj-cs"/>
              </a:rPr>
              <a:t>RPA use case – po expenses alloc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1BFADD8-91A9-4189-93DC-93EBC4DCA6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3681" y="1488440"/>
            <a:ext cx="6820262" cy="4434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4410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2C37B4E-D64F-4973-B0B9-6629C65E6F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4858"/>
            <a:ext cx="12192000" cy="4632961"/>
          </a:xfrm>
          <a:prstGeom prst="rect">
            <a:avLst/>
          </a:prstGeom>
          <a:noFill/>
        </p:spPr>
      </p:pic>
      <p:sp>
        <p:nvSpPr>
          <p:cNvPr id="9" name="Title 2">
            <a:extLst>
              <a:ext uri="{FF2B5EF4-FFF2-40B4-BE49-F238E27FC236}">
                <a16:creationId xmlns:a16="http://schemas.microsoft.com/office/drawing/2014/main" id="{DAF569B1-0BD4-46D7-80B9-B16537F1ED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716" y="416172"/>
            <a:ext cx="11222567" cy="646331"/>
          </a:xfrm>
        </p:spPr>
        <p:txBody>
          <a:bodyPr/>
          <a:lstStyle/>
          <a:p>
            <a:r>
              <a:rPr lang="en-US" dirty="0"/>
              <a:t>RPA use case example - </a:t>
            </a:r>
            <a:r>
              <a:rPr lang="en-US" sz="2800" dirty="0"/>
              <a:t>Data retrieval. PDF to excel</a:t>
            </a:r>
          </a:p>
        </p:txBody>
      </p:sp>
    </p:spTree>
    <p:extLst>
      <p:ext uri="{BB962C8B-B14F-4D97-AF65-F5344CB8AC3E}">
        <p14:creationId xmlns:p14="http://schemas.microsoft.com/office/powerpoint/2010/main" val="812179340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E725977E-78E4-44C2-AD6C-3864AC4D9BB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/>
          <a:srcRect l="3122" r="3122"/>
          <a:stretch/>
        </p:blipFill>
        <p:spPr>
          <a:xfrm>
            <a:off x="162562" y="1663194"/>
            <a:ext cx="3972558" cy="2692400"/>
          </a:xfrm>
          <a:noFill/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215BC04-A9C5-4648-96C7-7222F910711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376160" y="1422400"/>
            <a:ext cx="4815843" cy="4656669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1800" dirty="0"/>
              <a:t>RPA extracts structured data from PDF document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1800" dirty="0"/>
              <a:t>Data written to Excel / database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18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1800" dirty="0"/>
              <a:t>Data could be further processed (for example: group by Entity, Business Unit, Total Amount)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18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1800" dirty="0"/>
              <a:t>Process repeated for multiple PDF documen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7C29B9A-E170-444F-A58A-C23944520F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716" y="470379"/>
            <a:ext cx="11222567" cy="625877"/>
          </a:xfrm>
        </p:spPr>
        <p:txBody>
          <a:bodyPr wrap="square" anchor="b">
            <a:normAutofit/>
          </a:bodyPr>
          <a:lstStyle/>
          <a:p>
            <a:r>
              <a:rPr lang="en-US" dirty="0"/>
              <a:t>RPA use case example – </a:t>
            </a:r>
            <a:r>
              <a:rPr lang="en-US" sz="2800" dirty="0"/>
              <a:t>Data retrieval. PDF to excel</a:t>
            </a:r>
            <a:endParaRPr lang="en-SG" sz="28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50D284D-D492-4FB5-9AA2-FF181267B730}"/>
              </a:ext>
            </a:extLst>
          </p:cNvPr>
          <p:cNvSpPr/>
          <p:nvPr/>
        </p:nvSpPr>
        <p:spPr>
          <a:xfrm>
            <a:off x="383449" y="1933957"/>
            <a:ext cx="2362200" cy="27736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b="1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B8BFD19-B7E1-4F56-A5E5-922730CB9B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22132" y="2712720"/>
            <a:ext cx="4454028" cy="2000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249655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8E6A0F5-AC7B-450E-AF00-000A6A97CE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6313" y="3257550"/>
            <a:ext cx="3362324" cy="2821519"/>
          </a:xfrm>
          <a:prstGeom prst="rect">
            <a:avLst/>
          </a:prstGeom>
        </p:spPr>
      </p:pic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42EEBD3C-2210-47C6-97EE-F51D87029D3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5"/>
          <a:srcRect l="5154" r="5154"/>
          <a:stretch/>
        </p:blipFill>
        <p:spPr>
          <a:xfrm>
            <a:off x="0" y="1167389"/>
            <a:ext cx="3638550" cy="2709286"/>
          </a:xfrm>
        </p:spPr>
      </p:pic>
      <p:sp>
        <p:nvSpPr>
          <p:cNvPr id="2" name="BJPseudoFooter">
            <a:extLst>
              <a:ext uri="{FF2B5EF4-FFF2-40B4-BE49-F238E27FC236}">
                <a16:creationId xmlns:a16="http://schemas.microsoft.com/office/drawing/2014/main" id="{30095DC5-5A33-4D43-B3EB-FE9169F1C43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43650" y="1344086"/>
            <a:ext cx="5848353" cy="4734983"/>
          </a:xfrm>
          <a:prstGeom prst="rect">
            <a:avLst/>
          </a:prstGeom>
          <a:solidFill>
            <a:schemeClr val="accent1"/>
          </a:solidFill>
        </p:spPr>
        <p:txBody>
          <a:bodyPr vert="horz" rtlCol="0" anchor="ctr">
            <a:norm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siness Problem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olidation of data from multiple manufacturing plants for payments was challenging and repetitive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rgbClr val="FFFFFF"/>
                </a:solidFill>
                <a:latin typeface="Arial"/>
              </a:rPr>
              <a:t>Subjected to potential human error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ltiple users transferring data into excel spreadsheets r</a:t>
            </a:r>
            <a:r>
              <a:rPr lang="en-US" dirty="0" err="1">
                <a:solidFill>
                  <a:srgbClr val="FFFFFF"/>
                </a:solidFill>
                <a:latin typeface="Arial"/>
              </a:rPr>
              <a:t>esult</a:t>
            </a:r>
            <a:r>
              <a:rPr lang="en-US" dirty="0">
                <a:solidFill>
                  <a:srgbClr val="FFFFFF"/>
                </a:solidFill>
                <a:latin typeface="Arial"/>
              </a:rPr>
              <a:t> in redundancies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rgbClr val="FFFFFF"/>
                </a:solidFill>
                <a:latin typeface="Arial"/>
              </a:rPr>
              <a:t>Data documents sent to dedicated email address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PA identifies relevant </a:t>
            </a:r>
            <a:r>
              <a:rPr lang="en-US" dirty="0">
                <a:solidFill>
                  <a:srgbClr val="FFFFFF"/>
                </a:solidFill>
                <a:latin typeface="Arial"/>
              </a:rPr>
              <a:t>email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Retrieve</a:t>
            </a:r>
            <a:r>
              <a:rPr lang="en-US" dirty="0">
                <a:solidFill>
                  <a:srgbClr val="FFFFFF"/>
                </a:solidFill>
                <a:latin typeface="Arial"/>
              </a:rPr>
              <a:t> details from multi-page documents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uting exceptions to human agents for validation</a:t>
            </a:r>
            <a:endParaRPr kumimoji="0" lang="en-SG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35D6746-41D2-43B7-B3FF-1A6175398D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716" y="331961"/>
            <a:ext cx="11222567" cy="625877"/>
          </a:xfrm>
        </p:spPr>
        <p:txBody>
          <a:bodyPr wrap="square" anchor="b">
            <a:normAutofit/>
          </a:bodyPr>
          <a:lstStyle/>
          <a:p>
            <a:r>
              <a:rPr lang="en-US" dirty="0"/>
              <a:t>RPA use case – </a:t>
            </a:r>
            <a:r>
              <a:rPr lang="en-US" sz="2800" dirty="0"/>
              <a:t>Data retrieval</a:t>
            </a:r>
            <a:r>
              <a:rPr lang="en-US" dirty="0"/>
              <a:t> </a:t>
            </a:r>
            <a:r>
              <a:rPr lang="en-US" sz="1800" dirty="0"/>
              <a:t>(global vehicle manufacturer)</a:t>
            </a:r>
          </a:p>
        </p:txBody>
      </p:sp>
    </p:spTree>
    <p:extLst>
      <p:ext uri="{BB962C8B-B14F-4D97-AF65-F5344CB8AC3E}">
        <p14:creationId xmlns:p14="http://schemas.microsoft.com/office/powerpoint/2010/main" val="4142527905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ontent Placeholder 2">
            <a:extLst>
              <a:ext uri="{FF2B5EF4-FFF2-40B4-BE49-F238E27FC236}">
                <a16:creationId xmlns:a16="http://schemas.microsoft.com/office/drawing/2014/main" id="{6DF7B7A9-BEBA-4507-9860-414BDB1DA960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977077365"/>
              </p:ext>
            </p:extLst>
          </p:nvPr>
        </p:nvGraphicFramePr>
        <p:xfrm>
          <a:off x="8391525" y="1514475"/>
          <a:ext cx="3676650" cy="45645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A0B8C605-9FF2-46AF-833E-C347D83CAF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563" y="228069"/>
            <a:ext cx="11222567" cy="523220"/>
          </a:xfrm>
        </p:spPr>
        <p:txBody>
          <a:bodyPr/>
          <a:lstStyle/>
          <a:p>
            <a:r>
              <a:rPr lang="en-US" sz="2800" dirty="0"/>
              <a:t>RPA use case – streamlined Invoice processing</a:t>
            </a:r>
            <a:endParaRPr lang="en-SG" sz="28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3D2432C-15EF-460D-BCDE-618C1EF41598}"/>
              </a:ext>
            </a:extLst>
          </p:cNvPr>
          <p:cNvSpPr txBox="1"/>
          <p:nvPr/>
        </p:nvSpPr>
        <p:spPr>
          <a:xfrm>
            <a:off x="309563" y="6079069"/>
            <a:ext cx="610552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SG" sz="2000" b="1" u="sng" dirty="0">
                <a:effectLst/>
                <a:latin typeface="Calibri" panose="020F0502020204030204" pitchFamily="34" charset="0"/>
                <a:ea typeface="Times New Roman" panose="02020603050405020304" pitchFamily="18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youtu.be/10_MkXNMpVw</a:t>
            </a:r>
            <a:endParaRPr lang="en-SG" sz="20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pic>
        <p:nvPicPr>
          <p:cNvPr id="9" name="Online Media 8" title="How to use RPA for Invoice Extraction and Processing">
            <a:hlinkClick r:id="" action="ppaction://media"/>
            <a:extLst>
              <a:ext uri="{FF2B5EF4-FFF2-40B4-BE49-F238E27FC236}">
                <a16:creationId xmlns:a16="http://schemas.microsoft.com/office/drawing/2014/main" id="{9560868E-998E-4B2D-A33C-342213B6405A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9"/>
          <a:stretch>
            <a:fillRect/>
          </a:stretch>
        </p:blipFill>
        <p:spPr>
          <a:xfrm>
            <a:off x="123825" y="847725"/>
            <a:ext cx="8677275" cy="5133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48757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PA Checklist – take awa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en-US" dirty="0"/>
              <a:t>Data is structure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en-US" sz="1800" dirty="0"/>
              <a:t>Rule-based, well defined business logic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r>
              <a:rPr lang="en-US" dirty="0"/>
              <a:t>Minimal variation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en-US" dirty="0"/>
              <a:t>Resource intensiv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fr-CA" dirty="0"/>
              <a:t>1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r>
              <a:rPr lang="fr-CA" dirty="0"/>
              <a:t>2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fr-CA" dirty="0"/>
              <a:t>3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fr-CA" dirty="0"/>
              <a:t>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33200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3F5022EC-8F10-4D9B-ACDE-8DE8B5CC4DB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4"/>
          <a:srcRect l="7937" r="7937"/>
          <a:stretch/>
        </p:blipFill>
        <p:spPr>
          <a:xfrm>
            <a:off x="0" y="1343609"/>
            <a:ext cx="7680961" cy="4735459"/>
          </a:xfrm>
        </p:spPr>
      </p:pic>
      <p:sp>
        <p:nvSpPr>
          <p:cNvPr id="2" name="BJPseudoFooter">
            <a:extLst>
              <a:ext uri="{FF2B5EF4-FFF2-40B4-BE49-F238E27FC236}">
                <a16:creationId xmlns:a16="http://schemas.microsoft.com/office/drawing/2014/main" id="{30095DC5-5A33-4D43-B3EB-FE9169F1C43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7680961" y="1344086"/>
            <a:ext cx="4511042" cy="4734983"/>
          </a:xfrm>
          <a:prstGeom prst="rect">
            <a:avLst/>
          </a:prstGeom>
          <a:solidFill>
            <a:schemeClr val="accent1"/>
          </a:solidFill>
        </p:spPr>
        <p:txBody>
          <a:bodyPr vert="horz" rtlCol="0" anchor="ctr">
            <a:norm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800" dirty="0">
                <a:solidFill>
                  <a:srgbClr val="FFFFFF"/>
                </a:solidFill>
                <a:latin typeface="Arial"/>
              </a:rPr>
              <a:t>Cost savings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f</a:t>
            </a:r>
            <a:r>
              <a:rPr lang="en-US" sz="2800" dirty="0" err="1">
                <a:solidFill>
                  <a:srgbClr val="FFFFFF"/>
                </a:solidFill>
                <a:latin typeface="Arial"/>
              </a:rPr>
              <a:t>iciency</a:t>
            </a:r>
            <a:endParaRPr lang="en-US" sz="2800" dirty="0">
              <a:solidFill>
                <a:srgbClr val="FFFFFF"/>
              </a:solidFill>
              <a:latin typeface="Arial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lity</a:t>
            </a:r>
            <a:endParaRPr kumimoji="0" lang="en-SG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35D6746-41D2-43B7-B3FF-1A6175398D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719" y="617711"/>
            <a:ext cx="11222567" cy="625877"/>
          </a:xfrm>
        </p:spPr>
        <p:txBody>
          <a:bodyPr wrap="square" anchor="b">
            <a:normAutofit/>
          </a:bodyPr>
          <a:lstStyle/>
          <a:p>
            <a:r>
              <a:rPr lang="en-US" dirty="0"/>
              <a:t>A robot for every person - Conclusion</a:t>
            </a:r>
          </a:p>
        </p:txBody>
      </p:sp>
    </p:spTree>
    <p:extLst>
      <p:ext uri="{BB962C8B-B14F-4D97-AF65-F5344CB8AC3E}">
        <p14:creationId xmlns:p14="http://schemas.microsoft.com/office/powerpoint/2010/main" val="227915654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2426" y="2681103"/>
            <a:ext cx="3405456" cy="1495794"/>
          </a:xfrm>
        </p:spPr>
        <p:txBody>
          <a:bodyPr/>
          <a:lstStyle/>
          <a:p>
            <a:r>
              <a:rPr lang="en-US" sz="3200" dirty="0" err="1"/>
              <a:t>Rpa</a:t>
            </a:r>
            <a:r>
              <a:rPr lang="en-US" sz="3200" dirty="0"/>
              <a:t> champions advancing RPA maturity</a:t>
            </a:r>
          </a:p>
        </p:txBody>
      </p:sp>
      <p:grpSp>
        <p:nvGrpSpPr>
          <p:cNvPr id="5" name="bcgIcons_Target">
            <a:extLst>
              <a:ext uri="{FF2B5EF4-FFF2-40B4-BE49-F238E27FC236}">
                <a16:creationId xmlns:a16="http://schemas.microsoft.com/office/drawing/2014/main" id="{02916922-81B1-4399-BF36-3FC0C6969C4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49544" y="1261440"/>
            <a:ext cx="1644396" cy="1645920"/>
            <a:chOff x="1682" y="0"/>
            <a:chExt cx="4316" cy="4320"/>
          </a:xfrm>
        </p:grpSpPr>
        <p:sp>
          <p:nvSpPr>
            <p:cNvPr id="6" name="AutoShape 23">
              <a:extLst>
                <a:ext uri="{FF2B5EF4-FFF2-40B4-BE49-F238E27FC236}">
                  <a16:creationId xmlns:a16="http://schemas.microsoft.com/office/drawing/2014/main" id="{89F4D31F-87B6-4E69-917E-65E2F97982B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Freeform 25">
              <a:extLst>
                <a:ext uri="{FF2B5EF4-FFF2-40B4-BE49-F238E27FC236}">
                  <a16:creationId xmlns:a16="http://schemas.microsoft.com/office/drawing/2014/main" id="{FA0FD38E-7CA9-4ECE-9013-798D4E40C5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2" y="838"/>
              <a:ext cx="1832" cy="1367"/>
            </a:xfrm>
            <a:custGeom>
              <a:avLst/>
              <a:gdLst>
                <a:gd name="T0" fmla="*/ 25 w 978"/>
                <a:gd name="T1" fmla="*/ 729 h 729"/>
                <a:gd name="T2" fmla="*/ 7 w 978"/>
                <a:gd name="T3" fmla="*/ 719 h 729"/>
                <a:gd name="T4" fmla="*/ 13 w 978"/>
                <a:gd name="T5" fmla="*/ 689 h 729"/>
                <a:gd name="T6" fmla="*/ 888 w 978"/>
                <a:gd name="T7" fmla="*/ 86 h 729"/>
                <a:gd name="T8" fmla="*/ 919 w 978"/>
                <a:gd name="T9" fmla="*/ 91 h 729"/>
                <a:gd name="T10" fmla="*/ 913 w 978"/>
                <a:gd name="T11" fmla="*/ 122 h 729"/>
                <a:gd name="T12" fmla="*/ 38 w 978"/>
                <a:gd name="T13" fmla="*/ 725 h 729"/>
                <a:gd name="T14" fmla="*/ 25 w 978"/>
                <a:gd name="T15" fmla="*/ 729 h 729"/>
                <a:gd name="T16" fmla="*/ 578 w 978"/>
                <a:gd name="T17" fmla="*/ 254 h 729"/>
                <a:gd name="T18" fmla="*/ 586 w 978"/>
                <a:gd name="T19" fmla="*/ 258 h 729"/>
                <a:gd name="T20" fmla="*/ 825 w 978"/>
                <a:gd name="T21" fmla="*/ 93 h 729"/>
                <a:gd name="T22" fmla="*/ 826 w 978"/>
                <a:gd name="T23" fmla="*/ 91 h 729"/>
                <a:gd name="T24" fmla="*/ 849 w 978"/>
                <a:gd name="T25" fmla="*/ 8 h 729"/>
                <a:gd name="T26" fmla="*/ 841 w 978"/>
                <a:gd name="T27" fmla="*/ 3 h 729"/>
                <a:gd name="T28" fmla="*/ 602 w 978"/>
                <a:gd name="T29" fmla="*/ 166 h 729"/>
                <a:gd name="T30" fmla="*/ 599 w 978"/>
                <a:gd name="T31" fmla="*/ 171 h 729"/>
                <a:gd name="T32" fmla="*/ 578 w 978"/>
                <a:gd name="T33" fmla="*/ 254 h 729"/>
                <a:gd name="T34" fmla="*/ 646 w 978"/>
                <a:gd name="T35" fmla="*/ 352 h 729"/>
                <a:gd name="T36" fmla="*/ 730 w 978"/>
                <a:gd name="T37" fmla="*/ 362 h 729"/>
                <a:gd name="T38" fmla="*/ 736 w 978"/>
                <a:gd name="T39" fmla="*/ 361 h 729"/>
                <a:gd name="T40" fmla="*/ 974 w 978"/>
                <a:gd name="T41" fmla="*/ 196 h 729"/>
                <a:gd name="T42" fmla="*/ 972 w 978"/>
                <a:gd name="T43" fmla="*/ 187 h 729"/>
                <a:gd name="T44" fmla="*/ 886 w 978"/>
                <a:gd name="T45" fmla="*/ 179 h 729"/>
                <a:gd name="T46" fmla="*/ 884 w 978"/>
                <a:gd name="T47" fmla="*/ 179 h 729"/>
                <a:gd name="T48" fmla="*/ 644 w 978"/>
                <a:gd name="T49" fmla="*/ 343 h 729"/>
                <a:gd name="T50" fmla="*/ 646 w 978"/>
                <a:gd name="T51" fmla="*/ 352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78" h="729">
                  <a:moveTo>
                    <a:pt x="25" y="729"/>
                  </a:moveTo>
                  <a:cubicBezTo>
                    <a:pt x="18" y="729"/>
                    <a:pt x="11" y="726"/>
                    <a:pt x="7" y="719"/>
                  </a:cubicBezTo>
                  <a:cubicBezTo>
                    <a:pt x="0" y="709"/>
                    <a:pt x="3" y="696"/>
                    <a:pt x="13" y="689"/>
                  </a:cubicBezTo>
                  <a:cubicBezTo>
                    <a:pt x="888" y="86"/>
                    <a:pt x="888" y="86"/>
                    <a:pt x="888" y="86"/>
                  </a:cubicBezTo>
                  <a:cubicBezTo>
                    <a:pt x="898" y="79"/>
                    <a:pt x="912" y="81"/>
                    <a:pt x="919" y="91"/>
                  </a:cubicBezTo>
                  <a:cubicBezTo>
                    <a:pt x="926" y="101"/>
                    <a:pt x="923" y="115"/>
                    <a:pt x="913" y="122"/>
                  </a:cubicBezTo>
                  <a:cubicBezTo>
                    <a:pt x="38" y="725"/>
                    <a:pt x="38" y="725"/>
                    <a:pt x="38" y="725"/>
                  </a:cubicBezTo>
                  <a:cubicBezTo>
                    <a:pt x="34" y="728"/>
                    <a:pt x="30" y="729"/>
                    <a:pt x="25" y="729"/>
                  </a:cubicBezTo>
                  <a:close/>
                  <a:moveTo>
                    <a:pt x="578" y="254"/>
                  </a:moveTo>
                  <a:cubicBezTo>
                    <a:pt x="577" y="258"/>
                    <a:pt x="582" y="259"/>
                    <a:pt x="586" y="258"/>
                  </a:cubicBezTo>
                  <a:cubicBezTo>
                    <a:pt x="586" y="258"/>
                    <a:pt x="586" y="258"/>
                    <a:pt x="825" y="93"/>
                  </a:cubicBezTo>
                  <a:cubicBezTo>
                    <a:pt x="826" y="93"/>
                    <a:pt x="826" y="93"/>
                    <a:pt x="826" y="91"/>
                  </a:cubicBezTo>
                  <a:cubicBezTo>
                    <a:pt x="826" y="91"/>
                    <a:pt x="826" y="91"/>
                    <a:pt x="849" y="8"/>
                  </a:cubicBezTo>
                  <a:cubicBezTo>
                    <a:pt x="850" y="3"/>
                    <a:pt x="845" y="0"/>
                    <a:pt x="841" y="3"/>
                  </a:cubicBezTo>
                  <a:cubicBezTo>
                    <a:pt x="841" y="3"/>
                    <a:pt x="841" y="3"/>
                    <a:pt x="602" y="166"/>
                  </a:cubicBezTo>
                  <a:cubicBezTo>
                    <a:pt x="601" y="168"/>
                    <a:pt x="601" y="168"/>
                    <a:pt x="599" y="171"/>
                  </a:cubicBezTo>
                  <a:cubicBezTo>
                    <a:pt x="599" y="171"/>
                    <a:pt x="599" y="171"/>
                    <a:pt x="578" y="254"/>
                  </a:cubicBezTo>
                  <a:close/>
                  <a:moveTo>
                    <a:pt x="646" y="352"/>
                  </a:moveTo>
                  <a:cubicBezTo>
                    <a:pt x="730" y="362"/>
                    <a:pt x="730" y="362"/>
                    <a:pt x="730" y="362"/>
                  </a:cubicBezTo>
                  <a:cubicBezTo>
                    <a:pt x="734" y="361"/>
                    <a:pt x="734" y="361"/>
                    <a:pt x="736" y="361"/>
                  </a:cubicBezTo>
                  <a:cubicBezTo>
                    <a:pt x="974" y="196"/>
                    <a:pt x="974" y="196"/>
                    <a:pt x="974" y="196"/>
                  </a:cubicBezTo>
                  <a:cubicBezTo>
                    <a:pt x="978" y="194"/>
                    <a:pt x="978" y="187"/>
                    <a:pt x="972" y="187"/>
                  </a:cubicBezTo>
                  <a:cubicBezTo>
                    <a:pt x="886" y="179"/>
                    <a:pt x="886" y="179"/>
                    <a:pt x="886" y="179"/>
                  </a:cubicBezTo>
                  <a:cubicBezTo>
                    <a:pt x="884" y="177"/>
                    <a:pt x="884" y="177"/>
                    <a:pt x="884" y="179"/>
                  </a:cubicBezTo>
                  <a:cubicBezTo>
                    <a:pt x="644" y="343"/>
                    <a:pt x="644" y="343"/>
                    <a:pt x="644" y="343"/>
                  </a:cubicBezTo>
                  <a:cubicBezTo>
                    <a:pt x="642" y="347"/>
                    <a:pt x="642" y="351"/>
                    <a:pt x="646" y="3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26">
              <a:extLst>
                <a:ext uri="{FF2B5EF4-FFF2-40B4-BE49-F238E27FC236}">
                  <a16:creationId xmlns:a16="http://schemas.microsoft.com/office/drawing/2014/main" id="{F562C458-32E3-43E7-BAF7-B4773D3C4A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2" y="756"/>
              <a:ext cx="2814" cy="2816"/>
            </a:xfrm>
            <a:custGeom>
              <a:avLst/>
              <a:gdLst>
                <a:gd name="T0" fmla="*/ 1016 w 1502"/>
                <a:gd name="T1" fmla="*/ 662 h 1502"/>
                <a:gd name="T2" fmla="*/ 1030 w 1502"/>
                <a:gd name="T3" fmla="*/ 751 h 1502"/>
                <a:gd name="T4" fmla="*/ 751 w 1502"/>
                <a:gd name="T5" fmla="*/ 1030 h 1502"/>
                <a:gd name="T6" fmla="*/ 472 w 1502"/>
                <a:gd name="T7" fmla="*/ 751 h 1502"/>
                <a:gd name="T8" fmla="*/ 751 w 1502"/>
                <a:gd name="T9" fmla="*/ 472 h 1502"/>
                <a:gd name="T10" fmla="*/ 929 w 1502"/>
                <a:gd name="T11" fmla="*/ 536 h 1502"/>
                <a:gd name="T12" fmla="*/ 819 w 1502"/>
                <a:gd name="T13" fmla="*/ 611 h 1502"/>
                <a:gd name="T14" fmla="*/ 751 w 1502"/>
                <a:gd name="T15" fmla="*/ 596 h 1502"/>
                <a:gd name="T16" fmla="*/ 596 w 1502"/>
                <a:gd name="T17" fmla="*/ 751 h 1502"/>
                <a:gd name="T18" fmla="*/ 751 w 1502"/>
                <a:gd name="T19" fmla="*/ 906 h 1502"/>
                <a:gd name="T20" fmla="*/ 906 w 1502"/>
                <a:gd name="T21" fmla="*/ 751 h 1502"/>
                <a:gd name="T22" fmla="*/ 906 w 1502"/>
                <a:gd name="T23" fmla="*/ 738 h 1502"/>
                <a:gd name="T24" fmla="*/ 1016 w 1502"/>
                <a:gd name="T25" fmla="*/ 662 h 1502"/>
                <a:gd name="T26" fmla="*/ 1107 w 1502"/>
                <a:gd name="T27" fmla="*/ 599 h 1502"/>
                <a:gd name="T28" fmla="*/ 1138 w 1502"/>
                <a:gd name="T29" fmla="*/ 751 h 1502"/>
                <a:gd name="T30" fmla="*/ 751 w 1502"/>
                <a:gd name="T31" fmla="*/ 1138 h 1502"/>
                <a:gd name="T32" fmla="*/ 364 w 1502"/>
                <a:gd name="T33" fmla="*/ 751 h 1502"/>
                <a:gd name="T34" fmla="*/ 751 w 1502"/>
                <a:gd name="T35" fmla="*/ 364 h 1502"/>
                <a:gd name="T36" fmla="*/ 1020 w 1502"/>
                <a:gd name="T37" fmla="*/ 473 h 1502"/>
                <a:gd name="T38" fmla="*/ 1124 w 1502"/>
                <a:gd name="T39" fmla="*/ 401 h 1502"/>
                <a:gd name="T40" fmla="*/ 751 w 1502"/>
                <a:gd name="T41" fmla="*/ 240 h 1502"/>
                <a:gd name="T42" fmla="*/ 240 w 1502"/>
                <a:gd name="T43" fmla="*/ 751 h 1502"/>
                <a:gd name="T44" fmla="*/ 751 w 1502"/>
                <a:gd name="T45" fmla="*/ 1262 h 1502"/>
                <a:gd name="T46" fmla="*/ 1262 w 1502"/>
                <a:gd name="T47" fmla="*/ 751 h 1502"/>
                <a:gd name="T48" fmla="*/ 1211 w 1502"/>
                <a:gd name="T49" fmla="*/ 528 h 1502"/>
                <a:gd name="T50" fmla="*/ 1107 w 1502"/>
                <a:gd name="T51" fmla="*/ 599 h 1502"/>
                <a:gd name="T52" fmla="*/ 1333 w 1502"/>
                <a:gd name="T53" fmla="*/ 443 h 1502"/>
                <a:gd name="T54" fmla="*/ 1307 w 1502"/>
                <a:gd name="T55" fmla="*/ 461 h 1502"/>
                <a:gd name="T56" fmla="*/ 1378 w 1502"/>
                <a:gd name="T57" fmla="*/ 751 h 1502"/>
                <a:gd name="T58" fmla="*/ 751 w 1502"/>
                <a:gd name="T59" fmla="*/ 1378 h 1502"/>
                <a:gd name="T60" fmla="*/ 124 w 1502"/>
                <a:gd name="T61" fmla="*/ 751 h 1502"/>
                <a:gd name="T62" fmla="*/ 751 w 1502"/>
                <a:gd name="T63" fmla="*/ 124 h 1502"/>
                <a:gd name="T64" fmla="*/ 1220 w 1502"/>
                <a:gd name="T65" fmla="*/ 335 h 1502"/>
                <a:gd name="T66" fmla="*/ 1246 w 1502"/>
                <a:gd name="T67" fmla="*/ 317 h 1502"/>
                <a:gd name="T68" fmla="*/ 1273 w 1502"/>
                <a:gd name="T69" fmla="*/ 211 h 1502"/>
                <a:gd name="T70" fmla="*/ 751 w 1502"/>
                <a:gd name="T71" fmla="*/ 0 h 1502"/>
                <a:gd name="T72" fmla="*/ 0 w 1502"/>
                <a:gd name="T73" fmla="*/ 751 h 1502"/>
                <a:gd name="T74" fmla="*/ 751 w 1502"/>
                <a:gd name="T75" fmla="*/ 1502 h 1502"/>
                <a:gd name="T76" fmla="*/ 1502 w 1502"/>
                <a:gd name="T77" fmla="*/ 751 h 1502"/>
                <a:gd name="T78" fmla="*/ 1442 w 1502"/>
                <a:gd name="T79" fmla="*/ 456 h 1502"/>
                <a:gd name="T80" fmla="*/ 1333 w 1502"/>
                <a:gd name="T81" fmla="*/ 443 h 1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2" h="1502">
                  <a:moveTo>
                    <a:pt x="1016" y="662"/>
                  </a:moveTo>
                  <a:cubicBezTo>
                    <a:pt x="1025" y="690"/>
                    <a:pt x="1030" y="720"/>
                    <a:pt x="1030" y="751"/>
                  </a:cubicBezTo>
                  <a:cubicBezTo>
                    <a:pt x="1030" y="905"/>
                    <a:pt x="905" y="1030"/>
                    <a:pt x="751" y="1030"/>
                  </a:cubicBezTo>
                  <a:cubicBezTo>
                    <a:pt x="597" y="1030"/>
                    <a:pt x="472" y="905"/>
                    <a:pt x="472" y="751"/>
                  </a:cubicBezTo>
                  <a:cubicBezTo>
                    <a:pt x="472" y="597"/>
                    <a:pt x="597" y="472"/>
                    <a:pt x="751" y="472"/>
                  </a:cubicBezTo>
                  <a:cubicBezTo>
                    <a:pt x="818" y="472"/>
                    <a:pt x="880" y="496"/>
                    <a:pt x="929" y="536"/>
                  </a:cubicBezTo>
                  <a:cubicBezTo>
                    <a:pt x="819" y="611"/>
                    <a:pt x="819" y="611"/>
                    <a:pt x="819" y="611"/>
                  </a:cubicBezTo>
                  <a:cubicBezTo>
                    <a:pt x="798" y="601"/>
                    <a:pt x="775" y="596"/>
                    <a:pt x="751" y="596"/>
                  </a:cubicBezTo>
                  <a:cubicBezTo>
                    <a:pt x="665" y="596"/>
                    <a:pt x="596" y="665"/>
                    <a:pt x="596" y="751"/>
                  </a:cubicBezTo>
                  <a:cubicBezTo>
                    <a:pt x="596" y="836"/>
                    <a:pt x="665" y="906"/>
                    <a:pt x="751" y="906"/>
                  </a:cubicBezTo>
                  <a:cubicBezTo>
                    <a:pt x="837" y="906"/>
                    <a:pt x="906" y="836"/>
                    <a:pt x="906" y="751"/>
                  </a:cubicBezTo>
                  <a:cubicBezTo>
                    <a:pt x="906" y="746"/>
                    <a:pt x="906" y="742"/>
                    <a:pt x="906" y="738"/>
                  </a:cubicBezTo>
                  <a:lnTo>
                    <a:pt x="1016" y="662"/>
                  </a:lnTo>
                  <a:close/>
                  <a:moveTo>
                    <a:pt x="1107" y="599"/>
                  </a:moveTo>
                  <a:cubicBezTo>
                    <a:pt x="1127" y="646"/>
                    <a:pt x="1138" y="697"/>
                    <a:pt x="1138" y="751"/>
                  </a:cubicBezTo>
                  <a:cubicBezTo>
                    <a:pt x="1138" y="964"/>
                    <a:pt x="964" y="1138"/>
                    <a:pt x="751" y="1138"/>
                  </a:cubicBezTo>
                  <a:cubicBezTo>
                    <a:pt x="537" y="1138"/>
                    <a:pt x="364" y="964"/>
                    <a:pt x="364" y="751"/>
                  </a:cubicBezTo>
                  <a:cubicBezTo>
                    <a:pt x="364" y="537"/>
                    <a:pt x="537" y="364"/>
                    <a:pt x="751" y="364"/>
                  </a:cubicBezTo>
                  <a:cubicBezTo>
                    <a:pt x="855" y="364"/>
                    <a:pt x="950" y="405"/>
                    <a:pt x="1020" y="473"/>
                  </a:cubicBezTo>
                  <a:cubicBezTo>
                    <a:pt x="1124" y="401"/>
                    <a:pt x="1124" y="401"/>
                    <a:pt x="1124" y="401"/>
                  </a:cubicBezTo>
                  <a:cubicBezTo>
                    <a:pt x="1030" y="302"/>
                    <a:pt x="898" y="240"/>
                    <a:pt x="751" y="240"/>
                  </a:cubicBezTo>
                  <a:cubicBezTo>
                    <a:pt x="469" y="240"/>
                    <a:pt x="240" y="469"/>
                    <a:pt x="240" y="751"/>
                  </a:cubicBezTo>
                  <a:cubicBezTo>
                    <a:pt x="240" y="1033"/>
                    <a:pt x="469" y="1262"/>
                    <a:pt x="751" y="1262"/>
                  </a:cubicBezTo>
                  <a:cubicBezTo>
                    <a:pt x="1033" y="1262"/>
                    <a:pt x="1262" y="1033"/>
                    <a:pt x="1262" y="751"/>
                  </a:cubicBezTo>
                  <a:cubicBezTo>
                    <a:pt x="1262" y="671"/>
                    <a:pt x="1244" y="595"/>
                    <a:pt x="1211" y="528"/>
                  </a:cubicBezTo>
                  <a:lnTo>
                    <a:pt x="1107" y="599"/>
                  </a:lnTo>
                  <a:close/>
                  <a:moveTo>
                    <a:pt x="1333" y="443"/>
                  </a:moveTo>
                  <a:cubicBezTo>
                    <a:pt x="1307" y="461"/>
                    <a:pt x="1307" y="461"/>
                    <a:pt x="1307" y="461"/>
                  </a:cubicBezTo>
                  <a:cubicBezTo>
                    <a:pt x="1352" y="548"/>
                    <a:pt x="1378" y="646"/>
                    <a:pt x="1378" y="751"/>
                  </a:cubicBezTo>
                  <a:cubicBezTo>
                    <a:pt x="1378" y="1097"/>
                    <a:pt x="1097" y="1378"/>
                    <a:pt x="751" y="1378"/>
                  </a:cubicBezTo>
                  <a:cubicBezTo>
                    <a:pt x="405" y="1378"/>
                    <a:pt x="124" y="1097"/>
                    <a:pt x="124" y="751"/>
                  </a:cubicBezTo>
                  <a:cubicBezTo>
                    <a:pt x="124" y="405"/>
                    <a:pt x="405" y="124"/>
                    <a:pt x="751" y="124"/>
                  </a:cubicBezTo>
                  <a:cubicBezTo>
                    <a:pt x="937" y="124"/>
                    <a:pt x="1105" y="205"/>
                    <a:pt x="1220" y="335"/>
                  </a:cubicBezTo>
                  <a:cubicBezTo>
                    <a:pt x="1246" y="317"/>
                    <a:pt x="1246" y="317"/>
                    <a:pt x="1246" y="317"/>
                  </a:cubicBezTo>
                  <a:cubicBezTo>
                    <a:pt x="1273" y="211"/>
                    <a:pt x="1273" y="211"/>
                    <a:pt x="1273" y="211"/>
                  </a:cubicBezTo>
                  <a:cubicBezTo>
                    <a:pt x="1138" y="80"/>
                    <a:pt x="954" y="0"/>
                    <a:pt x="751" y="0"/>
                  </a:cubicBezTo>
                  <a:cubicBezTo>
                    <a:pt x="337" y="0"/>
                    <a:pt x="0" y="337"/>
                    <a:pt x="0" y="751"/>
                  </a:cubicBezTo>
                  <a:cubicBezTo>
                    <a:pt x="0" y="1165"/>
                    <a:pt x="337" y="1502"/>
                    <a:pt x="751" y="1502"/>
                  </a:cubicBezTo>
                  <a:cubicBezTo>
                    <a:pt x="1165" y="1502"/>
                    <a:pt x="1502" y="1165"/>
                    <a:pt x="1502" y="751"/>
                  </a:cubicBezTo>
                  <a:cubicBezTo>
                    <a:pt x="1502" y="646"/>
                    <a:pt x="1480" y="547"/>
                    <a:pt x="1442" y="456"/>
                  </a:cubicBezTo>
                  <a:lnTo>
                    <a:pt x="1333" y="4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" name="Rectangle 1"/>
          <p:cNvSpPr/>
          <p:nvPr/>
        </p:nvSpPr>
        <p:spPr>
          <a:xfrm>
            <a:off x="4276041" y="1523136"/>
            <a:ext cx="7655983" cy="3718164"/>
          </a:xfrm>
          <a:prstGeom prst="rect">
            <a:avLst/>
          </a:prstGeom>
          <a:noFill/>
          <a:ln w="9525" cap="rnd">
            <a:noFill/>
            <a:prstDash val="sysDot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0063C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40000" marR="0" lvl="1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C3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lang="en-US" sz="20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is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PA</a:t>
            </a:r>
          </a:p>
          <a:p>
            <a:pPr marL="180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C3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80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C3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86000" marR="0" lvl="1" indent="-32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C3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rowing the </a:t>
            </a:r>
            <a:r>
              <a:rPr lang="en-US" sz="20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PA pipelin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80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C3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80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C3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40000" marR="0" lvl="1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C3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lang="en-US" sz="20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ey checklist and Quick start guid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40000" marR="0" lvl="1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C3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40000" marR="0" lvl="1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C3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40000" marR="0" lvl="1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C3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PA use cases examples</a:t>
            </a:r>
            <a:r>
              <a:rPr lang="en-US" sz="20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Oval 20"/>
          <p:cNvSpPr>
            <a:spLocks noChangeAspect="1" noChangeArrowheads="1"/>
          </p:cNvSpPr>
          <p:nvPr/>
        </p:nvSpPr>
        <p:spPr bwMode="auto">
          <a:xfrm>
            <a:off x="4474143" y="1841131"/>
            <a:ext cx="306910" cy="306910"/>
          </a:xfrm>
          <a:prstGeom prst="ellipse">
            <a:avLst/>
          </a:prstGeom>
          <a:solidFill>
            <a:srgbClr val="0063C3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9" name="Oval 20"/>
          <p:cNvSpPr>
            <a:spLocks noChangeAspect="1" noChangeArrowheads="1"/>
          </p:cNvSpPr>
          <p:nvPr/>
        </p:nvSpPr>
        <p:spPr bwMode="auto">
          <a:xfrm>
            <a:off x="4474143" y="2753905"/>
            <a:ext cx="306910" cy="306910"/>
          </a:xfrm>
          <a:prstGeom prst="ellipse">
            <a:avLst/>
          </a:prstGeom>
          <a:solidFill>
            <a:srgbClr val="0063C3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11" name="Oval 20"/>
          <p:cNvSpPr>
            <a:spLocks noChangeAspect="1" noChangeArrowheads="1"/>
          </p:cNvSpPr>
          <p:nvPr/>
        </p:nvSpPr>
        <p:spPr bwMode="auto">
          <a:xfrm>
            <a:off x="4474143" y="3666679"/>
            <a:ext cx="306910" cy="306910"/>
          </a:xfrm>
          <a:prstGeom prst="ellipse">
            <a:avLst/>
          </a:prstGeom>
          <a:solidFill>
            <a:srgbClr val="0063C3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3</a:t>
            </a:r>
          </a:p>
        </p:txBody>
      </p:sp>
      <p:sp>
        <p:nvSpPr>
          <p:cNvPr id="12" name="Oval 20"/>
          <p:cNvSpPr>
            <a:spLocks noChangeAspect="1" noChangeArrowheads="1"/>
          </p:cNvSpPr>
          <p:nvPr/>
        </p:nvSpPr>
        <p:spPr bwMode="auto">
          <a:xfrm>
            <a:off x="4474143" y="4598503"/>
            <a:ext cx="306910" cy="306910"/>
          </a:xfrm>
          <a:prstGeom prst="ellipse">
            <a:avLst/>
          </a:prstGeom>
          <a:solidFill>
            <a:srgbClr val="0063C3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4</a:t>
            </a:r>
          </a:p>
        </p:txBody>
      </p:sp>
      <p:sp>
        <p:nvSpPr>
          <p:cNvPr id="20" name="BJPseudoFooter">
            <a:extLst>
              <a:ext uri="{FF2B5EF4-FFF2-40B4-BE49-F238E27FC236}">
                <a16:creationId xmlns:a16="http://schemas.microsoft.com/office/drawing/2014/main" id="{B98F4F3E-AECE-4EA5-8743-6A9B25A63D1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27000" y="6496278"/>
            <a:ext cx="2114681" cy="21544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800">
                <a:solidFill>
                  <a:srgbClr val="7F7F7F"/>
                </a:solidFill>
                <a:latin typeface="Arial" panose="020B0604020202020204" pitchFamily="34" charset="0"/>
              </a:rPr>
              <a:t>Amgen Proprietary - For Internal Use Only</a:t>
            </a:r>
            <a:endParaRPr lang="en-US" sz="8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252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375D8B-D12D-4172-B703-501E8C17DB2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877" r="8696" b="2"/>
          <a:stretch/>
        </p:blipFill>
        <p:spPr>
          <a:xfrm>
            <a:off x="55061" y="1343610"/>
            <a:ext cx="3602539" cy="4216923"/>
          </a:xfrm>
          <a:prstGeom prst="rect">
            <a:avLst/>
          </a:prstGeom>
          <a:noFill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3DE5E5-0336-4B02-B427-047706EE713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22" r="-1" b="4668"/>
          <a:stretch/>
        </p:blipFill>
        <p:spPr>
          <a:xfrm>
            <a:off x="8465637" y="1343610"/>
            <a:ext cx="3726365" cy="4361866"/>
          </a:xfrm>
          <a:prstGeom prst="rect">
            <a:avLst/>
          </a:prstGeom>
          <a:noFill/>
        </p:spPr>
      </p:pic>
      <p:sp>
        <p:nvSpPr>
          <p:cNvPr id="5" name="Title 3">
            <a:extLst>
              <a:ext uri="{FF2B5EF4-FFF2-40B4-BE49-F238E27FC236}">
                <a16:creationId xmlns:a16="http://schemas.microsoft.com/office/drawing/2014/main" id="{9F152941-86DC-4696-96F6-A7D440CFE0B2}"/>
              </a:ext>
            </a:extLst>
          </p:cNvPr>
          <p:cNvSpPr txBox="1">
            <a:spLocks/>
          </p:cNvSpPr>
          <p:nvPr/>
        </p:nvSpPr>
        <p:spPr>
          <a:xfrm>
            <a:off x="4084320" y="1341121"/>
            <a:ext cx="4023360" cy="4737947"/>
          </a:xfrm>
          <a:prstGeom prst="rect">
            <a:avLst/>
          </a:prstGeom>
          <a:solidFill>
            <a:schemeClr val="accent1"/>
          </a:solidFill>
        </p:spPr>
        <p:txBody>
          <a:bodyPr vert="horz" lIns="182880" tIns="182880" rIns="182880" bIns="182880" rtlCol="0" anchor="ctr" anchorCtr="0">
            <a:normAutofit/>
          </a:bodyPr>
          <a:lstStyle>
            <a:lvl1pPr algn="l" defTabSz="380924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467" b="1" kern="1200" cap="all" spc="0" baseline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ctr">
              <a:spcBef>
                <a:spcPts val="727"/>
              </a:spcBef>
              <a:buClr>
                <a:schemeClr val="accent1"/>
              </a:buClr>
              <a:buSzPct val="90000"/>
            </a:pPr>
            <a:r>
              <a:rPr lang="en-US" sz="3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Q &amp; A</a:t>
            </a:r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606824AB-8CF7-472A-852B-4F277151C9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718" y="617601"/>
            <a:ext cx="11222567" cy="62587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158687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5D6746-41D2-43B7-B3FF-1A6175398D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 slides</a:t>
            </a:r>
          </a:p>
        </p:txBody>
      </p:sp>
      <p:sp>
        <p:nvSpPr>
          <p:cNvPr id="2" name="BJPseudoFooter">
            <a:extLst>
              <a:ext uri="{FF2B5EF4-FFF2-40B4-BE49-F238E27FC236}">
                <a16:creationId xmlns:a16="http://schemas.microsoft.com/office/drawing/2014/main" id="{30095DC5-5A33-4D43-B3EB-FE9169F1C43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038660" y="6642556"/>
            <a:ext cx="2114681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mgen Proprietary - For Internal Use Only</a:t>
            </a:r>
            <a:endParaRPr kumimoji="0" lang="en-SG" sz="8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1947743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195E1E5B-60DE-43B2-A189-5E97711D214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7541" y="6384000"/>
            <a:ext cx="9264000" cy="240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GB"/>
              <a:t>Confidential – do not distribute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EDA85CD1-D14F-499D-9650-5046D38C56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7800" y="526309"/>
            <a:ext cx="10516661" cy="625877"/>
          </a:xfrm>
        </p:spPr>
        <p:txBody>
          <a:bodyPr anchor="b">
            <a:normAutofit/>
          </a:bodyPr>
          <a:lstStyle/>
          <a:p>
            <a:r>
              <a:rPr lang="en-US" dirty="0"/>
              <a:t>RPA Adop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6E26AF2-2423-4192-8A39-BB721E200C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0625" y="1253324"/>
            <a:ext cx="9629775" cy="47283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7769294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844BEF-612B-46D0-8BEF-5227EA90AB1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l="5575" r="5575"/>
          <a:stretch/>
        </p:blipFill>
        <p:spPr>
          <a:xfrm>
            <a:off x="2" y="1343609"/>
            <a:ext cx="6743698" cy="4735459"/>
          </a:xfr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FE2D34-F360-4CDA-94F6-9E02CA52F88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77050" y="1344086"/>
            <a:ext cx="5314953" cy="4734983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SG" sz="1800" dirty="0"/>
              <a:t>RPA reusable procedures (code) and programmed tasks greatly improve process accurac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SG" sz="1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SG" sz="1800" dirty="0"/>
              <a:t>Automated data entry</a:t>
            </a:r>
          </a:p>
          <a:p>
            <a:endParaRPr lang="en-SG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BAC6FFC-745F-4076-B87A-5570CB9E3E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PA potential use case – </a:t>
            </a:r>
            <a:r>
              <a:rPr lang="en-US" sz="2800" dirty="0"/>
              <a:t>EBR</a:t>
            </a:r>
            <a:endParaRPr lang="en-SG" sz="2800" dirty="0"/>
          </a:p>
        </p:txBody>
      </p:sp>
    </p:spTree>
    <p:extLst>
      <p:ext uri="{BB962C8B-B14F-4D97-AF65-F5344CB8AC3E}">
        <p14:creationId xmlns:p14="http://schemas.microsoft.com/office/powerpoint/2010/main" val="267946951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17708659-2142-4334-8FA4-7304342C7E0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4"/>
          <a:srcRect t="2242" b="2242"/>
          <a:stretch/>
        </p:blipFill>
        <p:spPr>
          <a:xfrm>
            <a:off x="0" y="1343025"/>
            <a:ext cx="7067550" cy="4735513"/>
          </a:xfrm>
        </p:spPr>
      </p:pic>
      <p:sp>
        <p:nvSpPr>
          <p:cNvPr id="2" name="BJPseudoFooter">
            <a:extLst>
              <a:ext uri="{FF2B5EF4-FFF2-40B4-BE49-F238E27FC236}">
                <a16:creationId xmlns:a16="http://schemas.microsoft.com/office/drawing/2014/main" id="{30095DC5-5A33-4D43-B3EB-FE9169F1C43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7067550" y="1344086"/>
            <a:ext cx="5124453" cy="4734983"/>
          </a:xfrm>
          <a:prstGeom prst="rect">
            <a:avLst/>
          </a:prstGeom>
          <a:solidFill>
            <a:schemeClr val="accent1"/>
          </a:solidFill>
        </p:spPr>
        <p:txBody>
          <a:bodyPr vert="horz" rtlCol="0" anchor="ctr">
            <a:norm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r input Water ‘Threshold’ level = 550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PA iterates through all data rows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RPA sum values in column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lag ‘Quench and Washes’ process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RPA sends email alert to user</a:t>
            </a:r>
            <a:endParaRPr kumimoji="0" lang="en-SG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35D6746-41D2-43B7-B3FF-1A6175398D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719" y="617711"/>
            <a:ext cx="11222567" cy="625877"/>
          </a:xfrm>
        </p:spPr>
        <p:txBody>
          <a:bodyPr wrap="square" anchor="b">
            <a:normAutofit/>
          </a:bodyPr>
          <a:lstStyle/>
          <a:p>
            <a:r>
              <a:rPr lang="en-US" dirty="0"/>
              <a:t>RPA use case – asm2 solvents monitoring</a:t>
            </a:r>
          </a:p>
        </p:txBody>
      </p:sp>
    </p:spTree>
    <p:extLst>
      <p:ext uri="{BB962C8B-B14F-4D97-AF65-F5344CB8AC3E}">
        <p14:creationId xmlns:p14="http://schemas.microsoft.com/office/powerpoint/2010/main" val="3060307904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5D6746-41D2-43B7-B3FF-1A6175398D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812" y="411677"/>
            <a:ext cx="11222376" cy="584775"/>
          </a:xfrm>
        </p:spPr>
        <p:txBody>
          <a:bodyPr/>
          <a:lstStyle/>
          <a:p>
            <a:r>
              <a:rPr lang="en-US" sz="3200" dirty="0"/>
              <a:t>Accelerate returns with an automation flywheel</a:t>
            </a:r>
          </a:p>
        </p:txBody>
      </p:sp>
      <p:sp>
        <p:nvSpPr>
          <p:cNvPr id="2" name="BJPseudoFooter">
            <a:extLst>
              <a:ext uri="{FF2B5EF4-FFF2-40B4-BE49-F238E27FC236}">
                <a16:creationId xmlns:a16="http://schemas.microsoft.com/office/drawing/2014/main" id="{30095DC5-5A33-4D43-B3EB-FE9169F1C43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038660" y="6642556"/>
            <a:ext cx="2114681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mgen Proprietary - For Internal Use Only</a:t>
            </a:r>
            <a:endParaRPr kumimoji="0" lang="en-SG" sz="8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5CFDDF-2304-495A-A41B-321D4C2346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2422" y="1470455"/>
            <a:ext cx="7142205" cy="449786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381DB5F-8F75-4C9B-BA5C-767C6A38DE20}"/>
              </a:ext>
            </a:extLst>
          </p:cNvPr>
          <p:cNvSpPr txBox="1"/>
          <p:nvPr/>
        </p:nvSpPr>
        <p:spPr>
          <a:xfrm>
            <a:off x="7735329" y="1865869"/>
            <a:ext cx="386766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1" dirty="0"/>
              <a:t>COE builds, tests, and deploy RPA automa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6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SG" sz="1600" b="1" dirty="0"/>
              <a:t>Users see benefits in day-to-day wor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SG" sz="16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SG" sz="1600" b="1" dirty="0"/>
              <a:t>Users submit more ideas. COE validates / approves. COE / RPA Citizens build automations </a:t>
            </a:r>
          </a:p>
        </p:txBody>
      </p:sp>
    </p:spTree>
    <p:extLst>
      <p:ext uri="{BB962C8B-B14F-4D97-AF65-F5344CB8AC3E}">
        <p14:creationId xmlns:p14="http://schemas.microsoft.com/office/powerpoint/2010/main" val="3994704429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tangle 176">
            <a:extLst>
              <a:ext uri="{FF2B5EF4-FFF2-40B4-BE49-F238E27FC236}">
                <a16:creationId xmlns:a16="http://schemas.microsoft.com/office/drawing/2014/main" id="{1177C23F-051C-4BC9-8956-3AEE5DFD3EE1}"/>
              </a:ext>
            </a:extLst>
          </p:cNvPr>
          <p:cNvSpPr/>
          <p:nvPr/>
        </p:nvSpPr>
        <p:spPr>
          <a:xfrm>
            <a:off x="484716" y="1354667"/>
            <a:ext cx="7617225" cy="4071320"/>
          </a:xfrm>
          <a:prstGeom prst="rect">
            <a:avLst/>
          </a:prstGeom>
          <a:solidFill>
            <a:srgbClr val="DEFCB6">
              <a:alpha val="29804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vert270"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B42ACC9F-C6C8-44B6-A949-B979A9BD837B}"/>
              </a:ext>
            </a:extLst>
          </p:cNvPr>
          <p:cNvSpPr/>
          <p:nvPr/>
        </p:nvSpPr>
        <p:spPr>
          <a:xfrm>
            <a:off x="484716" y="5425988"/>
            <a:ext cx="7617221" cy="877141"/>
          </a:xfrm>
          <a:prstGeom prst="rect">
            <a:avLst/>
          </a:prstGeom>
          <a:solidFill>
            <a:srgbClr val="CBFEFD">
              <a:alpha val="29804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vert270"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PRIORITIZED</a:t>
            </a: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CF1B345E-DC3C-48EA-BAFE-A888962224DF}"/>
              </a:ext>
            </a:extLst>
          </p:cNvPr>
          <p:cNvSpPr/>
          <p:nvPr/>
        </p:nvSpPr>
        <p:spPr>
          <a:xfrm>
            <a:off x="8101941" y="1354667"/>
            <a:ext cx="3605344" cy="4071320"/>
          </a:xfrm>
          <a:prstGeom prst="rect">
            <a:avLst/>
          </a:prstGeom>
          <a:solidFill>
            <a:srgbClr val="F3C108">
              <a:alpha val="30196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vert270"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DEVELOPMENT </a:t>
            </a: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7011FAA1-383F-4946-AEA4-E3AE8D93ED9E}"/>
              </a:ext>
            </a:extLst>
          </p:cNvPr>
          <p:cNvSpPr/>
          <p:nvPr/>
        </p:nvSpPr>
        <p:spPr>
          <a:xfrm>
            <a:off x="8101939" y="5425988"/>
            <a:ext cx="3596348" cy="877141"/>
          </a:xfrm>
          <a:prstGeom prst="rect">
            <a:avLst/>
          </a:prstGeom>
          <a:solidFill>
            <a:srgbClr val="98EA96">
              <a:alpha val="29804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vert270"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A34F718-AAAE-468A-9535-EB792C612E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PA – growing the automation pipeline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C9981A9F-94D6-43B7-B69F-2E2B7E113E5C}"/>
              </a:ext>
            </a:extLst>
          </p:cNvPr>
          <p:cNvGrpSpPr/>
          <p:nvPr/>
        </p:nvGrpSpPr>
        <p:grpSpPr>
          <a:xfrm>
            <a:off x="1008779" y="1529619"/>
            <a:ext cx="2366155" cy="1092957"/>
            <a:chOff x="157476" y="1116605"/>
            <a:chExt cx="1774616" cy="81971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6F0FEAE-348A-44C1-B29A-0AE33E4EC3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869" t="5909" r="1"/>
            <a:stretch/>
          </p:blipFill>
          <p:spPr>
            <a:xfrm>
              <a:off x="358984" y="1120694"/>
              <a:ext cx="457200" cy="450669"/>
            </a:xfrm>
            <a:prstGeom prst="ellipse">
              <a:avLst/>
            </a:prstGeom>
            <a:ln w="0" cap="rnd" cmpd="sng">
              <a:solidFill>
                <a:schemeClr val="bg1"/>
              </a:solidFill>
              <a:round/>
            </a:ln>
            <a:effectLst/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D404390-528B-4C69-9740-0DABE68EE9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2308" r="1"/>
            <a:stretch/>
          </p:blipFill>
          <p:spPr>
            <a:xfrm>
              <a:off x="1273384" y="1118649"/>
              <a:ext cx="457200" cy="454758"/>
            </a:xfrm>
            <a:prstGeom prst="ellipse">
              <a:avLst/>
            </a:prstGeom>
            <a:ln w="0" cap="rnd" cmpd="sng">
              <a:solidFill>
                <a:schemeClr val="bg1"/>
              </a:solidFill>
              <a:round/>
            </a:ln>
            <a:effectLst/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515F13E-C0CD-4026-A1A1-E4612CBE7BA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16184" y="1116605"/>
              <a:ext cx="457200" cy="441101"/>
            </a:xfrm>
            <a:prstGeom prst="ellipse">
              <a:avLst/>
            </a:prstGeom>
            <a:ln w="0" cap="rnd" cmpd="sng">
              <a:solidFill>
                <a:schemeClr val="bg1"/>
              </a:solidFill>
              <a:round/>
            </a:ln>
            <a:effectLst/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FE22F7A-2589-440D-8E83-0FE9DFAF77E7}"/>
                </a:ext>
              </a:extLst>
            </p:cNvPr>
            <p:cNvSpPr txBox="1"/>
            <p:nvPr/>
          </p:nvSpPr>
          <p:spPr>
            <a:xfrm>
              <a:off x="157476" y="1559393"/>
              <a:ext cx="1774616" cy="3769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PA Automation Champion / Functional Lead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11B89429-E17B-4010-B129-FDC0CEA3FA4D}"/>
              </a:ext>
            </a:extLst>
          </p:cNvPr>
          <p:cNvSpPr/>
          <p:nvPr/>
        </p:nvSpPr>
        <p:spPr>
          <a:xfrm>
            <a:off x="1401619" y="2961168"/>
            <a:ext cx="1586896" cy="2438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EBC085D4-8FB9-4DA7-A3B2-0BB6EA9554C2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>
            <a:off x="2191857" y="2622576"/>
            <a:ext cx="3210" cy="338592"/>
          </a:xfrm>
          <a:prstGeom prst="straightConnector1">
            <a:avLst/>
          </a:prstGeom>
          <a:ln w="28575" cap="rnd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E24092E-8885-44FA-A5FB-A573720F29F7}"/>
              </a:ext>
            </a:extLst>
          </p:cNvPr>
          <p:cNvGrpSpPr/>
          <p:nvPr/>
        </p:nvGrpSpPr>
        <p:grpSpPr>
          <a:xfrm>
            <a:off x="2357218" y="2638149"/>
            <a:ext cx="810883" cy="259556"/>
            <a:chOff x="3023933" y="2365058"/>
            <a:chExt cx="608162" cy="194667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9634305-E92A-4BD3-B150-5EDDDC27728A}"/>
                </a:ext>
              </a:extLst>
            </p:cNvPr>
            <p:cNvSpPr txBox="1"/>
            <p:nvPr/>
          </p:nvSpPr>
          <p:spPr>
            <a:xfrm>
              <a:off x="3136527" y="2365058"/>
              <a:ext cx="495568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deation</a:t>
              </a:r>
            </a:p>
          </p:txBody>
        </p:sp>
        <p:pic>
          <p:nvPicPr>
            <p:cNvPr id="16" name="Graphic 15" descr="Lightbulb and gear">
              <a:extLst>
                <a:ext uri="{FF2B5EF4-FFF2-40B4-BE49-F238E27FC236}">
                  <a16:creationId xmlns:a16="http://schemas.microsoft.com/office/drawing/2014/main" id="{77B9DC60-6841-46A3-8219-5173256EC68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023933" y="2376845"/>
              <a:ext cx="182880" cy="182880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B1F1A74-7A5B-40FC-ADC5-496A937D1639}"/>
              </a:ext>
            </a:extLst>
          </p:cNvPr>
          <p:cNvGrpSpPr/>
          <p:nvPr/>
        </p:nvGrpSpPr>
        <p:grpSpPr>
          <a:xfrm>
            <a:off x="2357216" y="3304921"/>
            <a:ext cx="1739505" cy="420756"/>
            <a:chOff x="1346661" y="2942570"/>
            <a:chExt cx="1304629" cy="315567"/>
          </a:xfrm>
        </p:grpSpPr>
        <p:pic>
          <p:nvPicPr>
            <p:cNvPr id="12" name="Graphic 11" descr="Email">
              <a:extLst>
                <a:ext uri="{FF2B5EF4-FFF2-40B4-BE49-F238E27FC236}">
                  <a16:creationId xmlns:a16="http://schemas.microsoft.com/office/drawing/2014/main" id="{6F7D2065-8E1D-45DE-9940-0B55AD12A9A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346661" y="3024654"/>
              <a:ext cx="182880" cy="182880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A511129-A0EF-4557-A2F3-8FCB61DB5EB4}"/>
                </a:ext>
              </a:extLst>
            </p:cNvPr>
            <p:cNvSpPr txBox="1"/>
            <p:nvPr/>
          </p:nvSpPr>
          <p:spPr>
            <a:xfrm>
              <a:off x="1494482" y="2942570"/>
              <a:ext cx="1156808" cy="3155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automatic)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tify Functional Lead</a:t>
              </a: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8AD9709E-BEF5-4CA4-91BF-7A9833E58E26}"/>
              </a:ext>
            </a:extLst>
          </p:cNvPr>
          <p:cNvSpPr/>
          <p:nvPr/>
        </p:nvSpPr>
        <p:spPr>
          <a:xfrm>
            <a:off x="1401619" y="3864157"/>
            <a:ext cx="1586896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nctional Lead Review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A37EE1C-AE8D-48B7-8D4C-00017322AA0F}"/>
              </a:ext>
            </a:extLst>
          </p:cNvPr>
          <p:cNvCxnSpPr>
            <a:cxnSpLocks/>
            <a:stCxn id="10" idx="2"/>
            <a:endCxn id="20" idx="0"/>
          </p:cNvCxnSpPr>
          <p:nvPr/>
        </p:nvCxnSpPr>
        <p:spPr>
          <a:xfrm>
            <a:off x="2195067" y="3205008"/>
            <a:ext cx="0" cy="659149"/>
          </a:xfrm>
          <a:prstGeom prst="straightConnector1">
            <a:avLst/>
          </a:prstGeom>
          <a:ln w="28575" cap="rnd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1E01565B-0EE0-4DF8-8EBE-6E32E3570D58}"/>
              </a:ext>
            </a:extLst>
          </p:cNvPr>
          <p:cNvCxnSpPr>
            <a:cxnSpLocks/>
            <a:stCxn id="25" idx="2"/>
            <a:endCxn id="68" idx="0"/>
          </p:cNvCxnSpPr>
          <p:nvPr/>
        </p:nvCxnSpPr>
        <p:spPr>
          <a:xfrm flipH="1">
            <a:off x="2185020" y="5435957"/>
            <a:ext cx="2" cy="288290"/>
          </a:xfrm>
          <a:prstGeom prst="straightConnector1">
            <a:avLst/>
          </a:prstGeom>
          <a:ln w="28575" cap="rnd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AFD80354-0103-46E9-B243-633C8CD982D7}"/>
              </a:ext>
            </a:extLst>
          </p:cNvPr>
          <p:cNvSpPr/>
          <p:nvPr/>
        </p:nvSpPr>
        <p:spPr>
          <a:xfrm>
            <a:off x="5767009" y="1687528"/>
            <a:ext cx="1586896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nctional Lead Approved</a:t>
            </a: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18BDF6D9-5215-4992-98D4-D4145FD4E8F7}"/>
              </a:ext>
            </a:extLst>
          </p:cNvPr>
          <p:cNvGrpSpPr/>
          <p:nvPr/>
        </p:nvGrpSpPr>
        <p:grpSpPr>
          <a:xfrm>
            <a:off x="5833107" y="3224981"/>
            <a:ext cx="1450943" cy="907054"/>
            <a:chOff x="5050473" y="2964865"/>
            <a:chExt cx="1088207" cy="680291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065E8A7A-5316-41CC-9E28-F6129C8437D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370331" y="2964865"/>
              <a:ext cx="448492" cy="457200"/>
            </a:xfrm>
            <a:prstGeom prst="ellipse">
              <a:avLst/>
            </a:prstGeom>
            <a:ln w="0" cap="rnd" cmpd="sng">
              <a:solidFill>
                <a:schemeClr val="bg1"/>
              </a:solidFill>
              <a:round/>
            </a:ln>
            <a:effectLst/>
          </p:spPr>
        </p:pic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1C0D2BA6-FEC4-4258-910F-CE6A32FAD95F}"/>
                </a:ext>
              </a:extLst>
            </p:cNvPr>
            <p:cNvSpPr txBox="1"/>
            <p:nvPr/>
          </p:nvSpPr>
          <p:spPr>
            <a:xfrm>
              <a:off x="5050473" y="3422065"/>
              <a:ext cx="1088207" cy="2230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PA COE</a:t>
              </a:r>
            </a:p>
          </p:txBody>
        </p:sp>
      </p:grp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130A95E8-1B4E-44F4-A941-BD7B4E1E0633}"/>
              </a:ext>
            </a:extLst>
          </p:cNvPr>
          <p:cNvCxnSpPr>
            <a:cxnSpLocks/>
            <a:stCxn id="34" idx="2"/>
            <a:endCxn id="37" idx="0"/>
          </p:cNvCxnSpPr>
          <p:nvPr/>
        </p:nvCxnSpPr>
        <p:spPr>
          <a:xfrm flipH="1">
            <a:off x="6558579" y="2053288"/>
            <a:ext cx="1879" cy="1171696"/>
          </a:xfrm>
          <a:prstGeom prst="straightConnector1">
            <a:avLst/>
          </a:prstGeom>
          <a:ln w="28575" cap="rnd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7D7DAD2E-5983-4C10-81C9-7609842D769B}"/>
              </a:ext>
            </a:extLst>
          </p:cNvPr>
          <p:cNvSpPr/>
          <p:nvPr/>
        </p:nvSpPr>
        <p:spPr>
          <a:xfrm>
            <a:off x="9370469" y="1687528"/>
            <a:ext cx="1586896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Development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D77FD80A-8C4F-4537-AA93-95C8A62E9FCF}"/>
              </a:ext>
            </a:extLst>
          </p:cNvPr>
          <p:cNvCxnSpPr>
            <a:cxnSpLocks/>
            <a:stCxn id="38" idx="2"/>
            <a:endCxn id="64" idx="0"/>
          </p:cNvCxnSpPr>
          <p:nvPr/>
        </p:nvCxnSpPr>
        <p:spPr>
          <a:xfrm>
            <a:off x="6558579" y="4132035"/>
            <a:ext cx="1878" cy="1592212"/>
          </a:xfrm>
          <a:prstGeom prst="straightConnector1">
            <a:avLst/>
          </a:prstGeom>
          <a:ln w="28575" cap="rnd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DF474124-7073-45B5-9A48-C881656151B9}"/>
              </a:ext>
            </a:extLst>
          </p:cNvPr>
          <p:cNvCxnSpPr>
            <a:cxnSpLocks/>
            <a:stCxn id="37" idx="3"/>
            <a:endCxn id="42" idx="1"/>
          </p:cNvCxnSpPr>
          <p:nvPr/>
        </p:nvCxnSpPr>
        <p:spPr>
          <a:xfrm flipV="1">
            <a:off x="6857573" y="1870408"/>
            <a:ext cx="2512896" cy="1659376"/>
          </a:xfrm>
          <a:prstGeom prst="bentConnector3">
            <a:avLst>
              <a:gd name="adj1" fmla="val 50000"/>
            </a:avLst>
          </a:prstGeom>
          <a:ln w="28575" cap="rnd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C9A94EC0-AB52-4BDF-8A8F-9549AE4A3FB2}"/>
              </a:ext>
            </a:extLst>
          </p:cNvPr>
          <p:cNvCxnSpPr>
            <a:cxnSpLocks/>
            <a:stCxn id="42" idx="2"/>
            <a:endCxn id="53" idx="0"/>
          </p:cNvCxnSpPr>
          <p:nvPr/>
        </p:nvCxnSpPr>
        <p:spPr>
          <a:xfrm>
            <a:off x="10163917" y="2053289"/>
            <a:ext cx="0" cy="1156545"/>
          </a:xfrm>
          <a:prstGeom prst="straightConnector1">
            <a:avLst/>
          </a:prstGeom>
          <a:ln w="28575" cap="rnd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2" name="Group 81">
            <a:extLst>
              <a:ext uri="{FF2B5EF4-FFF2-40B4-BE49-F238E27FC236}">
                <a16:creationId xmlns:a16="http://schemas.microsoft.com/office/drawing/2014/main" id="{C31D60A5-49BB-4A63-BB7D-3C829ADB5202}"/>
              </a:ext>
            </a:extLst>
          </p:cNvPr>
          <p:cNvGrpSpPr/>
          <p:nvPr/>
        </p:nvGrpSpPr>
        <p:grpSpPr>
          <a:xfrm>
            <a:off x="9370466" y="3209832"/>
            <a:ext cx="1586896" cy="1297501"/>
            <a:chOff x="7590289" y="2985446"/>
            <a:chExt cx="1190172" cy="973126"/>
          </a:xfrm>
        </p:grpSpPr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2DD1D0CD-6177-4A57-9178-803364BBAC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l="1869" t="5909" r="1"/>
            <a:stretch/>
          </p:blipFill>
          <p:spPr>
            <a:xfrm>
              <a:off x="7956777" y="2985446"/>
              <a:ext cx="457200" cy="450669"/>
            </a:xfrm>
            <a:prstGeom prst="ellipse">
              <a:avLst/>
            </a:prstGeom>
            <a:ln w="0" cap="rnd" cmpd="sng">
              <a:solidFill>
                <a:schemeClr val="bg1"/>
              </a:solidFill>
              <a:round/>
            </a:ln>
            <a:effectLst/>
          </p:spPr>
        </p:pic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2CB51A91-849C-4986-ACE5-F567CEB02647}"/>
                </a:ext>
              </a:extLst>
            </p:cNvPr>
            <p:cNvSpPr txBox="1"/>
            <p:nvPr/>
          </p:nvSpPr>
          <p:spPr>
            <a:xfrm>
              <a:off x="7590289" y="3427801"/>
              <a:ext cx="1190172" cy="5307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PA Team / (Citizen Developer)</a:t>
              </a:r>
            </a:p>
          </p:txBody>
        </p:sp>
      </p:grp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728FC513-8063-4F3C-9A69-5BC3CB71AD0B}"/>
              </a:ext>
            </a:extLst>
          </p:cNvPr>
          <p:cNvCxnSpPr>
            <a:cxnSpLocks/>
            <a:stCxn id="58" idx="2"/>
            <a:endCxn id="60" idx="0"/>
          </p:cNvCxnSpPr>
          <p:nvPr/>
        </p:nvCxnSpPr>
        <p:spPr>
          <a:xfrm>
            <a:off x="10163916" y="4507333"/>
            <a:ext cx="7" cy="1216914"/>
          </a:xfrm>
          <a:prstGeom prst="straightConnector1">
            <a:avLst/>
          </a:prstGeom>
          <a:ln w="28575" cap="rnd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01593B53-C5D8-4CDF-8E11-B8F617798ED0}"/>
              </a:ext>
            </a:extLst>
          </p:cNvPr>
          <p:cNvSpPr/>
          <p:nvPr/>
        </p:nvSpPr>
        <p:spPr>
          <a:xfrm>
            <a:off x="9370475" y="5724247"/>
            <a:ext cx="1586896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FD51592-D232-4A23-A95F-5501BEAD784B}"/>
              </a:ext>
            </a:extLst>
          </p:cNvPr>
          <p:cNvSpPr/>
          <p:nvPr/>
        </p:nvSpPr>
        <p:spPr>
          <a:xfrm>
            <a:off x="5767009" y="5724247"/>
            <a:ext cx="1586896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E Re-asses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C4F6A23-7887-41E2-95E6-E58DE31BC5EA}"/>
              </a:ext>
            </a:extLst>
          </p:cNvPr>
          <p:cNvSpPr/>
          <p:nvPr/>
        </p:nvSpPr>
        <p:spPr>
          <a:xfrm>
            <a:off x="1391572" y="5724247"/>
            <a:ext cx="1586896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nctional Lead Rejected</a:t>
            </a:r>
          </a:p>
        </p:txBody>
      </p: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A5FA1A28-A42D-4167-9707-12A00806D05E}"/>
              </a:ext>
            </a:extLst>
          </p:cNvPr>
          <p:cNvGrpSpPr/>
          <p:nvPr/>
        </p:nvGrpSpPr>
        <p:grpSpPr>
          <a:xfrm>
            <a:off x="3230574" y="4495146"/>
            <a:ext cx="853363" cy="261708"/>
            <a:chOff x="3014916" y="2361186"/>
            <a:chExt cx="640022" cy="196281"/>
          </a:xfrm>
        </p:grpSpPr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E9DC9BAE-F1D9-4877-8428-203FC4BAA97A}"/>
                </a:ext>
              </a:extLst>
            </p:cNvPr>
            <p:cNvSpPr txBox="1"/>
            <p:nvPr/>
          </p:nvSpPr>
          <p:spPr>
            <a:xfrm>
              <a:off x="3136527" y="2365058"/>
              <a:ext cx="51841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pprove</a:t>
              </a:r>
            </a:p>
          </p:txBody>
        </p:sp>
        <p:pic>
          <p:nvPicPr>
            <p:cNvPr id="185" name="Graphic 184" descr="Thumbs up sign">
              <a:extLst>
                <a:ext uri="{FF2B5EF4-FFF2-40B4-BE49-F238E27FC236}">
                  <a16:creationId xmlns:a16="http://schemas.microsoft.com/office/drawing/2014/main" id="{A1FB89C4-B743-4F60-8C50-F6CD71C08E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3014916" y="2361186"/>
              <a:ext cx="182880" cy="182880"/>
            </a:xfrm>
            <a:prstGeom prst="rect">
              <a:avLst/>
            </a:prstGeom>
          </p:spPr>
        </p:pic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7A604BD8-871B-49CF-9217-7762B50996EF}"/>
              </a:ext>
            </a:extLst>
          </p:cNvPr>
          <p:cNvGrpSpPr/>
          <p:nvPr/>
        </p:nvGrpSpPr>
        <p:grpSpPr>
          <a:xfrm>
            <a:off x="2286447" y="5425695"/>
            <a:ext cx="716787" cy="258705"/>
            <a:chOff x="3028382" y="2365058"/>
            <a:chExt cx="537590" cy="194029"/>
          </a:xfrm>
        </p:grpSpPr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1BCEBC50-36B0-4C96-9F89-6CA7E94016D2}"/>
                </a:ext>
              </a:extLst>
            </p:cNvPr>
            <p:cNvSpPr txBox="1"/>
            <p:nvPr/>
          </p:nvSpPr>
          <p:spPr>
            <a:xfrm>
              <a:off x="3136527" y="2365058"/>
              <a:ext cx="429445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ject</a:t>
              </a:r>
            </a:p>
          </p:txBody>
        </p:sp>
        <p:pic>
          <p:nvPicPr>
            <p:cNvPr id="188" name="Graphic 187" descr="No sign">
              <a:extLst>
                <a:ext uri="{FF2B5EF4-FFF2-40B4-BE49-F238E27FC236}">
                  <a16:creationId xmlns:a16="http://schemas.microsoft.com/office/drawing/2014/main" id="{1EB9F582-5A34-4792-9D06-A418C39692D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/>
          </p:blipFill>
          <p:spPr>
            <a:xfrm>
              <a:off x="3028382" y="2376207"/>
              <a:ext cx="182880" cy="182880"/>
            </a:xfrm>
            <a:prstGeom prst="rect">
              <a:avLst/>
            </a:prstGeom>
          </p:spPr>
        </p:pic>
      </p:grp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532F4686-0B85-4E08-B421-55603522AF57}"/>
              </a:ext>
            </a:extLst>
          </p:cNvPr>
          <p:cNvGrpSpPr/>
          <p:nvPr/>
        </p:nvGrpSpPr>
        <p:grpSpPr>
          <a:xfrm>
            <a:off x="7049102" y="3237055"/>
            <a:ext cx="853363" cy="261708"/>
            <a:chOff x="3014916" y="2361186"/>
            <a:chExt cx="640022" cy="196281"/>
          </a:xfrm>
        </p:grpSpPr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39906F89-9677-498E-8E63-31BA1FE5FE1B}"/>
                </a:ext>
              </a:extLst>
            </p:cNvPr>
            <p:cNvSpPr txBox="1"/>
            <p:nvPr/>
          </p:nvSpPr>
          <p:spPr>
            <a:xfrm>
              <a:off x="3136527" y="2365058"/>
              <a:ext cx="518411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pprove</a:t>
              </a:r>
            </a:p>
          </p:txBody>
        </p:sp>
        <p:pic>
          <p:nvPicPr>
            <p:cNvPr id="191" name="Graphic 190" descr="Thumbs up sign">
              <a:extLst>
                <a:ext uri="{FF2B5EF4-FFF2-40B4-BE49-F238E27FC236}">
                  <a16:creationId xmlns:a16="http://schemas.microsoft.com/office/drawing/2014/main" id="{D5C03541-F427-486A-9675-363567D191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3014916" y="2361186"/>
              <a:ext cx="182880" cy="182880"/>
            </a:xfrm>
            <a:prstGeom prst="rect">
              <a:avLst/>
            </a:prstGeom>
          </p:spPr>
        </p:pic>
      </p:grp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24414031-02D4-41B6-A826-B5B6A99D078F}"/>
              </a:ext>
            </a:extLst>
          </p:cNvPr>
          <p:cNvGrpSpPr/>
          <p:nvPr/>
        </p:nvGrpSpPr>
        <p:grpSpPr>
          <a:xfrm>
            <a:off x="6726936" y="4495145"/>
            <a:ext cx="716787" cy="258705"/>
            <a:chOff x="3028382" y="2365058"/>
            <a:chExt cx="537590" cy="194029"/>
          </a:xfrm>
        </p:grpSpPr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F44A8E3F-848E-4BE0-B19D-BC743B79D22D}"/>
                </a:ext>
              </a:extLst>
            </p:cNvPr>
            <p:cNvSpPr txBox="1"/>
            <p:nvPr/>
          </p:nvSpPr>
          <p:spPr>
            <a:xfrm>
              <a:off x="3136527" y="2365058"/>
              <a:ext cx="429445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ject</a:t>
              </a:r>
            </a:p>
          </p:txBody>
        </p:sp>
        <p:pic>
          <p:nvPicPr>
            <p:cNvPr id="194" name="Graphic 193" descr="No sign">
              <a:extLst>
                <a:ext uri="{FF2B5EF4-FFF2-40B4-BE49-F238E27FC236}">
                  <a16:creationId xmlns:a16="http://schemas.microsoft.com/office/drawing/2014/main" id="{13DCE5E5-F35F-46AC-A6F1-833F85657A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/>
          </p:blipFill>
          <p:spPr>
            <a:xfrm>
              <a:off x="3028382" y="2376207"/>
              <a:ext cx="182880" cy="182880"/>
            </a:xfrm>
            <a:prstGeom prst="rect">
              <a:avLst/>
            </a:prstGeom>
          </p:spPr>
        </p:pic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9135B258-85C8-4F0C-9D7E-C79D8440E6B0}"/>
              </a:ext>
            </a:extLst>
          </p:cNvPr>
          <p:cNvGrpSpPr/>
          <p:nvPr/>
        </p:nvGrpSpPr>
        <p:grpSpPr>
          <a:xfrm>
            <a:off x="10266916" y="4495145"/>
            <a:ext cx="965252" cy="258705"/>
            <a:chOff x="3028382" y="2365058"/>
            <a:chExt cx="723939" cy="194029"/>
          </a:xfrm>
        </p:grpSpPr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AADABAAA-853B-44E6-8868-64C0625F2B18}"/>
                </a:ext>
              </a:extLst>
            </p:cNvPr>
            <p:cNvSpPr txBox="1"/>
            <p:nvPr/>
          </p:nvSpPr>
          <p:spPr>
            <a:xfrm>
              <a:off x="3136527" y="2365058"/>
              <a:ext cx="615794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eate bot</a:t>
              </a:r>
            </a:p>
          </p:txBody>
        </p:sp>
        <p:pic>
          <p:nvPicPr>
            <p:cNvPr id="197" name="Graphic 196" descr="Tools">
              <a:extLst>
                <a:ext uri="{FF2B5EF4-FFF2-40B4-BE49-F238E27FC236}">
                  <a16:creationId xmlns:a16="http://schemas.microsoft.com/office/drawing/2014/main" id="{B9129A15-DA4B-49E2-AB9C-AB53698180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/>
            <a:stretch/>
          </p:blipFill>
          <p:spPr>
            <a:xfrm>
              <a:off x="3028382" y="2376207"/>
              <a:ext cx="182880" cy="182880"/>
            </a:xfrm>
            <a:prstGeom prst="rect">
              <a:avLst/>
            </a:prstGeom>
          </p:spPr>
        </p:pic>
      </p:grpSp>
      <p:sp>
        <p:nvSpPr>
          <p:cNvPr id="199" name="Rectangle 198">
            <a:extLst>
              <a:ext uri="{FF2B5EF4-FFF2-40B4-BE49-F238E27FC236}">
                <a16:creationId xmlns:a16="http://schemas.microsoft.com/office/drawing/2014/main" id="{38C7D680-4D57-4335-81B5-15598A0B9577}"/>
              </a:ext>
            </a:extLst>
          </p:cNvPr>
          <p:cNvSpPr/>
          <p:nvPr/>
        </p:nvSpPr>
        <p:spPr>
          <a:xfrm>
            <a:off x="3850747" y="5724247"/>
            <a:ext cx="1749784" cy="365760"/>
          </a:xfrm>
          <a:prstGeom prst="rect">
            <a:avLst/>
          </a:prstGeom>
          <a:solidFill>
            <a:srgbClr val="0063C3">
              <a:alpha val="47843"/>
            </a:srgbClr>
          </a:solidFill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vise for Enterprise Platform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4EA597F4-E2E9-415D-98DE-E87AFD84BADC}"/>
              </a:ext>
            </a:extLst>
          </p:cNvPr>
          <p:cNvSpPr txBox="1"/>
          <p:nvPr/>
        </p:nvSpPr>
        <p:spPr>
          <a:xfrm>
            <a:off x="5501831" y="5699685"/>
            <a:ext cx="324128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0CED5975-3D15-4683-8F5A-C748901A9B88}"/>
              </a:ext>
            </a:extLst>
          </p:cNvPr>
          <p:cNvGrpSpPr/>
          <p:nvPr/>
        </p:nvGrpSpPr>
        <p:grpSpPr>
          <a:xfrm>
            <a:off x="1459550" y="4532159"/>
            <a:ext cx="1450943" cy="903798"/>
            <a:chOff x="500680" y="3799719"/>
            <a:chExt cx="1088207" cy="677849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ED3D31C6-853F-4F03-9627-6002CEA763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9"/>
            <a:srcRect l="2308" r="1"/>
            <a:stretch/>
          </p:blipFill>
          <p:spPr>
            <a:xfrm>
              <a:off x="816184" y="3799719"/>
              <a:ext cx="457200" cy="454758"/>
            </a:xfrm>
            <a:prstGeom prst="ellipse">
              <a:avLst/>
            </a:prstGeom>
            <a:ln w="0" cap="rnd" cmpd="sng">
              <a:solidFill>
                <a:schemeClr val="bg1"/>
              </a:solidFill>
              <a:round/>
            </a:ln>
            <a:effectLst/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ABB069EC-AF00-4A48-943E-18F83EC06012}"/>
                </a:ext>
              </a:extLst>
            </p:cNvPr>
            <p:cNvSpPr txBox="1"/>
            <p:nvPr/>
          </p:nvSpPr>
          <p:spPr>
            <a:xfrm>
              <a:off x="500680" y="4254477"/>
              <a:ext cx="1088207" cy="2230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unctional Lead</a:t>
              </a:r>
            </a:p>
          </p:txBody>
        </p:sp>
      </p:grp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C03C84EC-4286-44EF-B8C7-B2228DC15BE9}"/>
              </a:ext>
            </a:extLst>
          </p:cNvPr>
          <p:cNvCxnSpPr>
            <a:stCxn id="24" idx="3"/>
            <a:endCxn id="34" idx="1"/>
          </p:cNvCxnSpPr>
          <p:nvPr/>
        </p:nvCxnSpPr>
        <p:spPr>
          <a:xfrm flipV="1">
            <a:off x="2489822" y="1870409"/>
            <a:ext cx="3277188" cy="2964924"/>
          </a:xfrm>
          <a:prstGeom prst="bentConnector3">
            <a:avLst>
              <a:gd name="adj1" fmla="val 81859"/>
            </a:avLst>
          </a:prstGeom>
          <a:ln w="28575" cap="rnd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104C21A-8313-462E-8992-102455DDD637}"/>
              </a:ext>
            </a:extLst>
          </p:cNvPr>
          <p:cNvCxnSpPr>
            <a:cxnSpLocks/>
            <a:stCxn id="20" idx="2"/>
            <a:endCxn id="24" idx="0"/>
          </p:cNvCxnSpPr>
          <p:nvPr/>
        </p:nvCxnSpPr>
        <p:spPr>
          <a:xfrm flipH="1">
            <a:off x="2185022" y="4229917"/>
            <a:ext cx="10045" cy="302243"/>
          </a:xfrm>
          <a:prstGeom prst="straightConnector1">
            <a:avLst/>
          </a:prstGeom>
          <a:ln w="28575" cap="rnd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BJPseudoFooter">
            <a:extLst>
              <a:ext uri="{FF2B5EF4-FFF2-40B4-BE49-F238E27FC236}">
                <a16:creationId xmlns:a16="http://schemas.microsoft.com/office/drawing/2014/main" id="{9C98E28D-8788-4085-AA65-A88CEDD7802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038660" y="6642556"/>
            <a:ext cx="2114681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mgen Proprietary - For Internal Use Only</a:t>
            </a:r>
            <a:endParaRPr kumimoji="0" lang="en-SG" sz="8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51092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4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00"/>
                            </p:stCondLst>
                            <p:childTnLst>
                              <p:par>
                                <p:cTn id="5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8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"/>
                            </p:stCondLst>
                            <p:childTnLst>
                              <p:par>
                                <p:cTn id="6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7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00"/>
                            </p:stCondLst>
                            <p:childTnLst>
                              <p:par>
                                <p:cTn id="7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7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500"/>
                            </p:stCondLst>
                            <p:childTnLst>
                              <p:par>
                                <p:cTn id="8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1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4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500"/>
                            </p:stCondLst>
                            <p:childTnLst>
                              <p:par>
                                <p:cTn id="10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8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6" dur="5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500"/>
                            </p:stCondLst>
                            <p:childTnLst>
                              <p:par>
                                <p:cTn id="11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20" grpId="0" animBg="1"/>
      <p:bldP spid="34" grpId="0" animBg="1"/>
      <p:bldP spid="42" grpId="0" animBg="1"/>
      <p:bldP spid="60" grpId="0" animBg="1"/>
      <p:bldP spid="64" grpId="0" animBg="1"/>
      <p:bldP spid="68" grpId="0" animBg="1"/>
      <p:bldP spid="199" grpId="0" animBg="1"/>
      <p:bldP spid="200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38AF453-49F6-42AE-A357-4F623CF02975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08228BC-88D9-44FC-B104-1799D647C5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842892233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">
            <a:extLst>
              <a:ext uri="{FF2B5EF4-FFF2-40B4-BE49-F238E27FC236}">
                <a16:creationId xmlns:a16="http://schemas.microsoft.com/office/drawing/2014/main" id="{2726FE7C-C9B1-428D-8DF1-C95E56FB027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" y="1343609"/>
            <a:ext cx="8035636" cy="4735459"/>
          </a:xfrm>
        </p:spPr>
      </p:sp>
      <p:sp>
        <p:nvSpPr>
          <p:cNvPr id="2" name="BJPseudoFooter">
            <a:extLst>
              <a:ext uri="{FF2B5EF4-FFF2-40B4-BE49-F238E27FC236}">
                <a16:creationId xmlns:a16="http://schemas.microsoft.com/office/drawing/2014/main" id="{30095DC5-5A33-4D43-B3EB-FE9169F1C43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7680961" y="1344086"/>
            <a:ext cx="4511042" cy="4734983"/>
          </a:xfrm>
          <a:prstGeom prst="rect">
            <a:avLst/>
          </a:prstGeom>
          <a:solidFill>
            <a:schemeClr val="accent1"/>
          </a:solidFill>
        </p:spPr>
        <p:txBody>
          <a:bodyPr vert="horz" rtlCol="0" anchor="ctr">
            <a:normAutofit/>
          </a:bodyPr>
          <a:lstStyle/>
          <a:p>
            <a:pPr marL="457200" marR="0" lvl="0" indent="-45720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933" dirty="0">
                <a:solidFill>
                  <a:schemeClr val="bg1"/>
                </a:solidFill>
              </a:rPr>
              <a:t>Automating data collec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35D6746-41D2-43B7-B3FF-1A6175398D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719" y="617711"/>
            <a:ext cx="11222567" cy="625877"/>
          </a:xfrm>
        </p:spPr>
        <p:txBody>
          <a:bodyPr wrap="square" anchor="b">
            <a:normAutofit/>
          </a:bodyPr>
          <a:lstStyle/>
          <a:p>
            <a:r>
              <a:rPr lang="en-US" dirty="0"/>
              <a:t>RPA potential use case</a:t>
            </a:r>
          </a:p>
        </p:txBody>
      </p:sp>
    </p:spTree>
    <p:extLst>
      <p:ext uri="{BB962C8B-B14F-4D97-AF65-F5344CB8AC3E}">
        <p14:creationId xmlns:p14="http://schemas.microsoft.com/office/powerpoint/2010/main" val="2768492157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C8900A9-E9FC-4827-8778-792177B8033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680" r="1" b="6307"/>
          <a:stretch/>
        </p:blipFill>
        <p:spPr>
          <a:xfrm>
            <a:off x="0" y="68263"/>
            <a:ext cx="12192000" cy="61182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4836471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3478703-D39B-41B3-9107-673830ADFBF6}"/>
              </a:ext>
            </a:extLst>
          </p:cNvPr>
          <p:cNvSpPr/>
          <p:nvPr/>
        </p:nvSpPr>
        <p:spPr>
          <a:xfrm>
            <a:off x="561974" y="1901926"/>
            <a:ext cx="4376301" cy="728785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/>
              <a:t>`</a:t>
            </a:r>
            <a:endParaRPr lang="en-SG" dirty="0"/>
          </a:p>
        </p:txBody>
      </p:sp>
      <p:sp>
        <p:nvSpPr>
          <p:cNvPr id="76" name="Title 3">
            <a:extLst>
              <a:ext uri="{FF2B5EF4-FFF2-40B4-BE49-F238E27FC236}">
                <a16:creationId xmlns:a16="http://schemas.microsoft.com/office/drawing/2014/main" id="{DA773B8A-08A2-4B5E-AA3F-AC54D02402B2}"/>
              </a:ext>
            </a:extLst>
          </p:cNvPr>
          <p:cNvSpPr txBox="1">
            <a:spLocks/>
          </p:cNvSpPr>
          <p:nvPr/>
        </p:nvSpPr>
        <p:spPr>
          <a:xfrm>
            <a:off x="426791" y="235947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38093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 cap="all" spc="0" baseline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defTabSz="380924">
              <a:defRPr/>
            </a:pPr>
            <a:endParaRPr lang="en-US" sz="2600" dirty="0">
              <a:solidFill>
                <a:srgbClr val="3B3B3B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84A6CB-03BC-4138-B312-E4BD4F3308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009" y="364581"/>
            <a:ext cx="11252200" cy="334103"/>
          </a:xfrm>
        </p:spPr>
        <p:txBody>
          <a:bodyPr/>
          <a:lstStyle/>
          <a:p>
            <a:r>
              <a:rPr lang="en-US" sz="3000" b="1" cap="all" dirty="0">
                <a:latin typeface="+mn-lt"/>
              </a:rPr>
              <a:t>What is RPA?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36C0767-43E9-4625-BDEC-C772B4359852}"/>
              </a:ext>
            </a:extLst>
          </p:cNvPr>
          <p:cNvSpPr/>
          <p:nvPr/>
        </p:nvSpPr>
        <p:spPr bwMode="gray">
          <a:xfrm>
            <a:off x="3780227" y="2826394"/>
            <a:ext cx="4527103" cy="3114079"/>
          </a:xfrm>
          <a:prstGeom prst="ellipse">
            <a:avLst/>
          </a:prstGeom>
          <a:noFill/>
          <a:ln w="38100" algn="ctr">
            <a:solidFill>
              <a:srgbClr val="0066C9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  <a:defRPr/>
            </a:pPr>
            <a:endParaRPr lang="en-US" sz="1400" b="1" kern="0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F19241-4F6C-4393-A527-E7E2C519E938}"/>
              </a:ext>
            </a:extLst>
          </p:cNvPr>
          <p:cNvSpPr/>
          <p:nvPr/>
        </p:nvSpPr>
        <p:spPr>
          <a:xfrm>
            <a:off x="3657651" y="2711567"/>
            <a:ext cx="4834572" cy="113407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45720" tIns="45720" rIns="45720" rtlCol="0" anchor="ctr"/>
          <a:lstStyle/>
          <a:p>
            <a:pPr algn="ctr" defTabSz="914377">
              <a:defRPr/>
            </a:pPr>
            <a:endParaRPr lang="en-US" sz="1400" kern="0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0B484E6-488B-4B29-99E6-80589FD28E04}"/>
              </a:ext>
            </a:extLst>
          </p:cNvPr>
          <p:cNvSpPr txBox="1"/>
          <p:nvPr/>
        </p:nvSpPr>
        <p:spPr>
          <a:xfrm>
            <a:off x="7406449" y="5742938"/>
            <a:ext cx="382112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7">
              <a:spcBef>
                <a:spcPts val="600"/>
              </a:spcBef>
              <a:buSzPct val="100000"/>
              <a:defRPr/>
            </a:pP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ogging into web / enterprise application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22BBE31-9FC6-4A76-AF93-61429956A8D3}"/>
              </a:ext>
            </a:extLst>
          </p:cNvPr>
          <p:cNvSpPr/>
          <p:nvPr/>
        </p:nvSpPr>
        <p:spPr bwMode="auto">
          <a:xfrm>
            <a:off x="642382" y="3319135"/>
            <a:ext cx="10810511" cy="314340"/>
          </a:xfrm>
          <a:prstGeom prst="rect">
            <a:avLst/>
          </a:prstGeom>
          <a:noFill/>
          <a:ln w="12700" cap="flat" cmpd="sng" algn="ctr">
            <a:solidFill>
              <a:srgbClr val="0063C3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7200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377">
              <a:spcAft>
                <a:spcPts val="2527"/>
              </a:spcAft>
              <a:buSzPct val="100000"/>
              <a:defRPr/>
            </a:pPr>
            <a:r>
              <a:rPr lang="en-US" b="1" cap="all" spc="300" dirty="0">
                <a:solidFill>
                  <a:srgbClr val="3B3B3B"/>
                </a:solidFill>
                <a:latin typeface="Calibri" panose="020F0502020204030204" pitchFamily="34" charset="0"/>
              </a:rPr>
              <a:t>What RPA can do…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9DDEF8B-16B6-4A04-9557-E2557B847D3D}"/>
              </a:ext>
            </a:extLst>
          </p:cNvPr>
          <p:cNvSpPr/>
          <p:nvPr/>
        </p:nvSpPr>
        <p:spPr bwMode="gray">
          <a:xfrm>
            <a:off x="3699638" y="3849115"/>
            <a:ext cx="292591" cy="239939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0066C9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  <a:defRPr/>
            </a:pPr>
            <a:endParaRPr lang="en-US" sz="1100" b="1" kern="0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230B492-0BA5-4BDA-9B6A-C418D1AA3530}"/>
              </a:ext>
            </a:extLst>
          </p:cNvPr>
          <p:cNvSpPr/>
          <p:nvPr/>
        </p:nvSpPr>
        <p:spPr bwMode="gray">
          <a:xfrm>
            <a:off x="3619677" y="4352883"/>
            <a:ext cx="292591" cy="239939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0066C9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  <a:defRPr/>
            </a:pPr>
            <a:endParaRPr lang="en-US" sz="1100" b="1" kern="0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4CBE1218-C9B5-46AC-AE95-1FED3A4DE42E}"/>
              </a:ext>
            </a:extLst>
          </p:cNvPr>
          <p:cNvSpPr/>
          <p:nvPr/>
        </p:nvSpPr>
        <p:spPr bwMode="gray">
          <a:xfrm>
            <a:off x="3797006" y="4827545"/>
            <a:ext cx="292591" cy="239939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0066C9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  <a:defRPr/>
            </a:pPr>
            <a:endParaRPr lang="en-US" sz="1100" b="1" kern="0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9201AAC0-BBA4-4940-BC0C-E84B86A81262}"/>
              </a:ext>
            </a:extLst>
          </p:cNvPr>
          <p:cNvSpPr/>
          <p:nvPr/>
        </p:nvSpPr>
        <p:spPr bwMode="gray">
          <a:xfrm>
            <a:off x="4212853" y="5298581"/>
            <a:ext cx="292591" cy="239939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0066C9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  <a:defRPr/>
            </a:pPr>
            <a:endParaRPr lang="en-US" sz="1100" b="1" kern="0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3B96EB32-982B-4999-A2DC-1F33F1D53F20}"/>
              </a:ext>
            </a:extLst>
          </p:cNvPr>
          <p:cNvSpPr/>
          <p:nvPr/>
        </p:nvSpPr>
        <p:spPr bwMode="gray">
          <a:xfrm>
            <a:off x="4735583" y="5617076"/>
            <a:ext cx="292591" cy="239939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0066C9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  <a:defRPr/>
            </a:pPr>
            <a:endParaRPr lang="en-US" sz="1100" b="1" kern="0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253E57E-5C1B-461A-BFB9-F90618B1F8E9}"/>
              </a:ext>
            </a:extLst>
          </p:cNvPr>
          <p:cNvSpPr/>
          <p:nvPr/>
        </p:nvSpPr>
        <p:spPr bwMode="gray">
          <a:xfrm>
            <a:off x="5478414" y="5825091"/>
            <a:ext cx="292591" cy="239939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0066C9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  <a:defRPr/>
            </a:pPr>
            <a:endParaRPr lang="en-US" sz="1100" b="1" kern="0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5187772-5C17-4EA1-B33C-25CA345EC181}"/>
              </a:ext>
            </a:extLst>
          </p:cNvPr>
          <p:cNvSpPr/>
          <p:nvPr/>
        </p:nvSpPr>
        <p:spPr bwMode="gray">
          <a:xfrm flipH="1">
            <a:off x="8108159" y="3849036"/>
            <a:ext cx="292591" cy="239939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0066C9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  <a:defRPr/>
            </a:pPr>
            <a:endParaRPr lang="en-US" sz="1100" b="1" kern="0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40B7951-C38A-4189-BDEA-7237CC3B6A46}"/>
              </a:ext>
            </a:extLst>
          </p:cNvPr>
          <p:cNvSpPr/>
          <p:nvPr/>
        </p:nvSpPr>
        <p:spPr bwMode="gray">
          <a:xfrm flipH="1">
            <a:off x="8166943" y="4352883"/>
            <a:ext cx="292591" cy="239939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0066C9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  <a:defRPr/>
            </a:pPr>
            <a:endParaRPr lang="en-US" sz="1100" b="1" kern="0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B230A90A-20B6-405B-980B-517E94C0C2D6}"/>
              </a:ext>
            </a:extLst>
          </p:cNvPr>
          <p:cNvSpPr/>
          <p:nvPr/>
        </p:nvSpPr>
        <p:spPr bwMode="gray">
          <a:xfrm flipH="1">
            <a:off x="7989615" y="4827545"/>
            <a:ext cx="292591" cy="239939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0066C9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  <a:defRPr/>
            </a:pPr>
            <a:endParaRPr lang="en-US" sz="1100" b="1" kern="0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2364E481-4FBD-41ED-8E82-7294433E804D}"/>
              </a:ext>
            </a:extLst>
          </p:cNvPr>
          <p:cNvSpPr/>
          <p:nvPr/>
        </p:nvSpPr>
        <p:spPr bwMode="gray">
          <a:xfrm flipH="1">
            <a:off x="7573767" y="5298581"/>
            <a:ext cx="292591" cy="239939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0066C9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  <a:defRPr/>
            </a:pPr>
            <a:endParaRPr lang="en-US" sz="1100" b="1" kern="0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2273CF7-E661-439A-A70C-5404EA1B0F65}"/>
              </a:ext>
            </a:extLst>
          </p:cNvPr>
          <p:cNvSpPr/>
          <p:nvPr/>
        </p:nvSpPr>
        <p:spPr bwMode="gray">
          <a:xfrm flipH="1">
            <a:off x="7051037" y="5617076"/>
            <a:ext cx="292591" cy="239939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0066C9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  <a:defRPr/>
            </a:pPr>
            <a:endParaRPr lang="en-US" sz="1100" b="1" kern="0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6051921D-9720-48EA-ABB6-E622B3C12E8D}"/>
              </a:ext>
            </a:extLst>
          </p:cNvPr>
          <p:cNvSpPr/>
          <p:nvPr/>
        </p:nvSpPr>
        <p:spPr bwMode="gray">
          <a:xfrm flipH="1">
            <a:off x="6308206" y="5825091"/>
            <a:ext cx="292591" cy="239939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0066C9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  <a:defRPr/>
            </a:pPr>
            <a:endParaRPr lang="en-US" sz="1100" b="1" kern="0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7B713A0-770B-4EBD-9174-C6537A5794B8}"/>
              </a:ext>
            </a:extLst>
          </p:cNvPr>
          <p:cNvSpPr txBox="1"/>
          <p:nvPr/>
        </p:nvSpPr>
        <p:spPr>
          <a:xfrm>
            <a:off x="737410" y="3762109"/>
            <a:ext cx="280580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377">
              <a:spcBef>
                <a:spcPts val="600"/>
              </a:spcBef>
              <a:buSzPct val="100000"/>
              <a:defRPr/>
            </a:pP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pening email and attachment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E57DE52-7712-4FD6-BC93-8E6CC590C3C7}"/>
              </a:ext>
            </a:extLst>
          </p:cNvPr>
          <p:cNvSpPr txBox="1"/>
          <p:nvPr/>
        </p:nvSpPr>
        <p:spPr>
          <a:xfrm>
            <a:off x="1038789" y="4182258"/>
            <a:ext cx="249537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377">
              <a:spcBef>
                <a:spcPts val="600"/>
              </a:spcBef>
              <a:buSzPct val="100000"/>
              <a:defRPr/>
            </a:pPr>
            <a:r>
              <a:rPr lang="en-US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an email inbox and send email alert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3E8F6CE-CE0B-4623-9E52-F37E67E78601}"/>
              </a:ext>
            </a:extLst>
          </p:cNvPr>
          <p:cNvSpPr txBox="1"/>
          <p:nvPr/>
        </p:nvSpPr>
        <p:spPr>
          <a:xfrm>
            <a:off x="821017" y="4848629"/>
            <a:ext cx="288165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377">
              <a:spcBef>
                <a:spcPts val="600"/>
              </a:spcBef>
              <a:buSzPct val="100000"/>
              <a:defRPr/>
            </a:pP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oving files and folder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EFAB3A0-B522-4269-82D8-B651537EE33E}"/>
              </a:ext>
            </a:extLst>
          </p:cNvPr>
          <p:cNvSpPr txBox="1"/>
          <p:nvPr/>
        </p:nvSpPr>
        <p:spPr>
          <a:xfrm>
            <a:off x="1007860" y="5268778"/>
            <a:ext cx="30942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377">
              <a:spcBef>
                <a:spcPts val="600"/>
              </a:spcBef>
              <a:buSzPct val="100000"/>
              <a:defRPr/>
            </a:pPr>
            <a:r>
              <a:rPr lang="en-US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lter and Select data (keywords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1123385-64B8-443A-99D7-D588CB2DDEFC}"/>
              </a:ext>
            </a:extLst>
          </p:cNvPr>
          <p:cNvSpPr txBox="1"/>
          <p:nvPr/>
        </p:nvSpPr>
        <p:spPr>
          <a:xfrm>
            <a:off x="1820466" y="5688926"/>
            <a:ext cx="288165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377">
              <a:spcBef>
                <a:spcPts val="600"/>
              </a:spcBef>
              <a:buSzPct val="100000"/>
              <a:defRPr/>
            </a:pP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illing in form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93BBC2E-330F-49C8-9B0C-1769BCDDB2B7}"/>
              </a:ext>
            </a:extLst>
          </p:cNvPr>
          <p:cNvSpPr txBox="1"/>
          <p:nvPr/>
        </p:nvSpPr>
        <p:spPr>
          <a:xfrm>
            <a:off x="1624827" y="6109078"/>
            <a:ext cx="412097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377">
              <a:spcBef>
                <a:spcPts val="600"/>
              </a:spcBef>
              <a:buSzPct val="100000"/>
              <a:defRPr/>
            </a:pP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ading / writing to databas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38ACE7A-BB0A-44BD-A2CB-E12BF9764E01}"/>
              </a:ext>
            </a:extLst>
          </p:cNvPr>
          <p:cNvSpPr txBox="1"/>
          <p:nvPr/>
        </p:nvSpPr>
        <p:spPr>
          <a:xfrm>
            <a:off x="8531121" y="3762109"/>
            <a:ext cx="292177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7">
              <a:spcBef>
                <a:spcPts val="600"/>
              </a:spcBef>
              <a:buSzPct val="100000"/>
              <a:defRPr/>
            </a:pPr>
            <a:r>
              <a:rPr lang="en-US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ating with applications: </a:t>
            </a:r>
            <a:r>
              <a:rPr lang="en-US" b="1" dirty="0" err="1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arepoint</a:t>
            </a:r>
            <a:r>
              <a:rPr lang="en-US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Smartsheet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6F8AFDB-255D-47DA-A47E-15AF8D341C92}"/>
              </a:ext>
            </a:extLst>
          </p:cNvPr>
          <p:cNvSpPr txBox="1"/>
          <p:nvPr/>
        </p:nvSpPr>
        <p:spPr>
          <a:xfrm>
            <a:off x="8425646" y="4848629"/>
            <a:ext cx="234661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7">
              <a:spcBef>
                <a:spcPts val="600"/>
              </a:spcBef>
              <a:buSzPct val="100000"/>
              <a:defRPr/>
            </a:pPr>
            <a:r>
              <a:rPr lang="en-US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king calculation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9F7B8D8-4D6C-49C1-9E1A-90BF3FB8319A}"/>
              </a:ext>
            </a:extLst>
          </p:cNvPr>
          <p:cNvSpPr txBox="1"/>
          <p:nvPr/>
        </p:nvSpPr>
        <p:spPr>
          <a:xfrm>
            <a:off x="8649821" y="4402452"/>
            <a:ext cx="22352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7">
              <a:spcBef>
                <a:spcPts val="600"/>
              </a:spcBef>
              <a:buSzPct val="100000"/>
              <a:defRPr/>
            </a:pP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necting to system API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92DE71E-E202-4B7B-A175-625ED1E2AAC8}"/>
              </a:ext>
            </a:extLst>
          </p:cNvPr>
          <p:cNvSpPr txBox="1"/>
          <p:nvPr/>
        </p:nvSpPr>
        <p:spPr>
          <a:xfrm>
            <a:off x="7989615" y="5241430"/>
            <a:ext cx="367000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7">
              <a:spcBef>
                <a:spcPts val="600"/>
              </a:spcBef>
              <a:buSzPct val="100000"/>
              <a:defRPr/>
            </a:pPr>
            <a:r>
              <a:rPr lang="en-US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racting structured data from document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FE81CFA-5B64-4EDB-9499-96DA48C2D720}"/>
              </a:ext>
            </a:extLst>
          </p:cNvPr>
          <p:cNvSpPr txBox="1"/>
          <p:nvPr/>
        </p:nvSpPr>
        <p:spPr>
          <a:xfrm>
            <a:off x="6433535" y="6109078"/>
            <a:ext cx="39380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7">
              <a:spcBef>
                <a:spcPts val="600"/>
              </a:spcBef>
              <a:buSzPct val="100000"/>
              <a:defRPr/>
            </a:pP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ollowing “if/then” decisions/ru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EB2DC59-4C16-4099-BD28-AB29FB212684}"/>
              </a:ext>
            </a:extLst>
          </p:cNvPr>
          <p:cNvSpPr/>
          <p:nvPr/>
        </p:nvSpPr>
        <p:spPr>
          <a:xfrm>
            <a:off x="1126907" y="1472138"/>
            <a:ext cx="36871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defRPr/>
            </a:pP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mputer-coded softwar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6A990B5-74F8-4756-A422-7BE14246F9FA}"/>
              </a:ext>
            </a:extLst>
          </p:cNvPr>
          <p:cNvSpPr/>
          <p:nvPr/>
        </p:nvSpPr>
        <p:spPr>
          <a:xfrm>
            <a:off x="1126905" y="1810472"/>
            <a:ext cx="3811371" cy="9233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914377">
              <a:defRPr/>
            </a:pP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Programs that perform resource intensive and repetitive rules-based task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E1BFEF9-0E6D-44D9-917A-D503700343C4}"/>
              </a:ext>
            </a:extLst>
          </p:cNvPr>
          <p:cNvSpPr/>
          <p:nvPr/>
        </p:nvSpPr>
        <p:spPr>
          <a:xfrm>
            <a:off x="1126906" y="2627305"/>
            <a:ext cx="368579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defRPr/>
            </a:pP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ross-functional and cross-application macros</a:t>
            </a:r>
          </a:p>
        </p:txBody>
      </p:sp>
      <p:grpSp>
        <p:nvGrpSpPr>
          <p:cNvPr id="46" name="Group 8">
            <a:extLst>
              <a:ext uri="{FF2B5EF4-FFF2-40B4-BE49-F238E27FC236}">
                <a16:creationId xmlns:a16="http://schemas.microsoft.com/office/drawing/2014/main" id="{F4F9AA16-FB28-45EF-9673-7C907CE698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9386" y="1457599"/>
            <a:ext cx="367631" cy="367631"/>
            <a:chOff x="4229" y="1872"/>
            <a:chExt cx="340" cy="34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47" name="Freeform 9">
              <a:extLst>
                <a:ext uri="{FF2B5EF4-FFF2-40B4-BE49-F238E27FC236}">
                  <a16:creationId xmlns:a16="http://schemas.microsoft.com/office/drawing/2014/main" id="{41677FB9-A6C3-4187-A003-A8E2070ACC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92" y="1949"/>
              <a:ext cx="214" cy="185"/>
            </a:xfrm>
            <a:custGeom>
              <a:avLst/>
              <a:gdLst>
                <a:gd name="T0" fmla="*/ 97 w 322"/>
                <a:gd name="T1" fmla="*/ 236 h 279"/>
                <a:gd name="T2" fmla="*/ 89 w 322"/>
                <a:gd name="T3" fmla="*/ 233 h 279"/>
                <a:gd name="T4" fmla="*/ 4 w 322"/>
                <a:gd name="T5" fmla="*/ 148 h 279"/>
                <a:gd name="T6" fmla="*/ 4 w 322"/>
                <a:gd name="T7" fmla="*/ 132 h 279"/>
                <a:gd name="T8" fmla="*/ 89 w 322"/>
                <a:gd name="T9" fmla="*/ 47 h 279"/>
                <a:gd name="T10" fmla="*/ 104 w 322"/>
                <a:gd name="T11" fmla="*/ 47 h 279"/>
                <a:gd name="T12" fmla="*/ 104 w 322"/>
                <a:gd name="T13" fmla="*/ 62 h 279"/>
                <a:gd name="T14" fmla="*/ 26 w 322"/>
                <a:gd name="T15" fmla="*/ 140 h 279"/>
                <a:gd name="T16" fmla="*/ 104 w 322"/>
                <a:gd name="T17" fmla="*/ 218 h 279"/>
                <a:gd name="T18" fmla="*/ 104 w 322"/>
                <a:gd name="T19" fmla="*/ 233 h 279"/>
                <a:gd name="T20" fmla="*/ 97 w 322"/>
                <a:gd name="T21" fmla="*/ 236 h 279"/>
                <a:gd name="T22" fmla="*/ 232 w 322"/>
                <a:gd name="T23" fmla="*/ 233 h 279"/>
                <a:gd name="T24" fmla="*/ 318 w 322"/>
                <a:gd name="T25" fmla="*/ 148 h 279"/>
                <a:gd name="T26" fmla="*/ 318 w 322"/>
                <a:gd name="T27" fmla="*/ 132 h 279"/>
                <a:gd name="T28" fmla="*/ 232 w 322"/>
                <a:gd name="T29" fmla="*/ 47 h 279"/>
                <a:gd name="T30" fmla="*/ 217 w 322"/>
                <a:gd name="T31" fmla="*/ 47 h 279"/>
                <a:gd name="T32" fmla="*/ 217 w 322"/>
                <a:gd name="T33" fmla="*/ 62 h 279"/>
                <a:gd name="T34" fmla="*/ 295 w 322"/>
                <a:gd name="T35" fmla="*/ 140 h 279"/>
                <a:gd name="T36" fmla="*/ 217 w 322"/>
                <a:gd name="T37" fmla="*/ 218 h 279"/>
                <a:gd name="T38" fmla="*/ 217 w 322"/>
                <a:gd name="T39" fmla="*/ 233 h 279"/>
                <a:gd name="T40" fmla="*/ 225 w 322"/>
                <a:gd name="T41" fmla="*/ 236 h 279"/>
                <a:gd name="T42" fmla="*/ 232 w 322"/>
                <a:gd name="T43" fmla="*/ 233 h 279"/>
                <a:gd name="T44" fmla="*/ 146 w 322"/>
                <a:gd name="T45" fmla="*/ 270 h 279"/>
                <a:gd name="T46" fmla="*/ 197 w 322"/>
                <a:gd name="T47" fmla="*/ 14 h 279"/>
                <a:gd name="T48" fmla="*/ 188 w 322"/>
                <a:gd name="T49" fmla="*/ 2 h 279"/>
                <a:gd name="T50" fmla="*/ 176 w 322"/>
                <a:gd name="T51" fmla="*/ 10 h 279"/>
                <a:gd name="T52" fmla="*/ 125 w 322"/>
                <a:gd name="T53" fmla="*/ 266 h 279"/>
                <a:gd name="T54" fmla="*/ 133 w 322"/>
                <a:gd name="T55" fmla="*/ 278 h 279"/>
                <a:gd name="T56" fmla="*/ 135 w 322"/>
                <a:gd name="T57" fmla="*/ 279 h 279"/>
                <a:gd name="T58" fmla="*/ 146 w 322"/>
                <a:gd name="T59" fmla="*/ 27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22" h="279">
                  <a:moveTo>
                    <a:pt x="97" y="236"/>
                  </a:moveTo>
                  <a:cubicBezTo>
                    <a:pt x="94" y="236"/>
                    <a:pt x="91" y="235"/>
                    <a:pt x="89" y="233"/>
                  </a:cubicBezTo>
                  <a:cubicBezTo>
                    <a:pt x="4" y="148"/>
                    <a:pt x="4" y="148"/>
                    <a:pt x="4" y="148"/>
                  </a:cubicBezTo>
                  <a:cubicBezTo>
                    <a:pt x="0" y="143"/>
                    <a:pt x="0" y="137"/>
                    <a:pt x="4" y="132"/>
                  </a:cubicBezTo>
                  <a:cubicBezTo>
                    <a:pt x="89" y="47"/>
                    <a:pt x="89" y="47"/>
                    <a:pt x="89" y="47"/>
                  </a:cubicBezTo>
                  <a:cubicBezTo>
                    <a:pt x="93" y="43"/>
                    <a:pt x="100" y="43"/>
                    <a:pt x="104" y="47"/>
                  </a:cubicBezTo>
                  <a:cubicBezTo>
                    <a:pt x="108" y="51"/>
                    <a:pt x="108" y="58"/>
                    <a:pt x="104" y="62"/>
                  </a:cubicBezTo>
                  <a:cubicBezTo>
                    <a:pt x="26" y="140"/>
                    <a:pt x="26" y="140"/>
                    <a:pt x="26" y="140"/>
                  </a:cubicBezTo>
                  <a:cubicBezTo>
                    <a:pt x="104" y="218"/>
                    <a:pt x="104" y="218"/>
                    <a:pt x="104" y="218"/>
                  </a:cubicBezTo>
                  <a:cubicBezTo>
                    <a:pt x="108" y="222"/>
                    <a:pt x="108" y="229"/>
                    <a:pt x="104" y="233"/>
                  </a:cubicBezTo>
                  <a:cubicBezTo>
                    <a:pt x="102" y="235"/>
                    <a:pt x="99" y="236"/>
                    <a:pt x="97" y="236"/>
                  </a:cubicBezTo>
                  <a:close/>
                  <a:moveTo>
                    <a:pt x="232" y="233"/>
                  </a:moveTo>
                  <a:cubicBezTo>
                    <a:pt x="318" y="148"/>
                    <a:pt x="318" y="148"/>
                    <a:pt x="318" y="148"/>
                  </a:cubicBezTo>
                  <a:cubicBezTo>
                    <a:pt x="322" y="143"/>
                    <a:pt x="322" y="137"/>
                    <a:pt x="318" y="132"/>
                  </a:cubicBezTo>
                  <a:cubicBezTo>
                    <a:pt x="232" y="47"/>
                    <a:pt x="232" y="47"/>
                    <a:pt x="232" y="47"/>
                  </a:cubicBezTo>
                  <a:cubicBezTo>
                    <a:pt x="228" y="43"/>
                    <a:pt x="221" y="43"/>
                    <a:pt x="217" y="47"/>
                  </a:cubicBezTo>
                  <a:cubicBezTo>
                    <a:pt x="213" y="51"/>
                    <a:pt x="213" y="58"/>
                    <a:pt x="217" y="62"/>
                  </a:cubicBezTo>
                  <a:cubicBezTo>
                    <a:pt x="295" y="140"/>
                    <a:pt x="295" y="140"/>
                    <a:pt x="295" y="140"/>
                  </a:cubicBezTo>
                  <a:cubicBezTo>
                    <a:pt x="217" y="218"/>
                    <a:pt x="217" y="218"/>
                    <a:pt x="217" y="218"/>
                  </a:cubicBezTo>
                  <a:cubicBezTo>
                    <a:pt x="213" y="222"/>
                    <a:pt x="213" y="229"/>
                    <a:pt x="217" y="233"/>
                  </a:cubicBezTo>
                  <a:cubicBezTo>
                    <a:pt x="219" y="235"/>
                    <a:pt x="222" y="236"/>
                    <a:pt x="225" y="236"/>
                  </a:cubicBezTo>
                  <a:cubicBezTo>
                    <a:pt x="227" y="236"/>
                    <a:pt x="230" y="235"/>
                    <a:pt x="232" y="233"/>
                  </a:cubicBezTo>
                  <a:close/>
                  <a:moveTo>
                    <a:pt x="146" y="270"/>
                  </a:moveTo>
                  <a:cubicBezTo>
                    <a:pt x="197" y="14"/>
                    <a:pt x="197" y="14"/>
                    <a:pt x="197" y="14"/>
                  </a:cubicBezTo>
                  <a:cubicBezTo>
                    <a:pt x="198" y="8"/>
                    <a:pt x="194" y="3"/>
                    <a:pt x="188" y="2"/>
                  </a:cubicBezTo>
                  <a:cubicBezTo>
                    <a:pt x="183" y="0"/>
                    <a:pt x="177" y="4"/>
                    <a:pt x="176" y="10"/>
                  </a:cubicBezTo>
                  <a:cubicBezTo>
                    <a:pt x="125" y="266"/>
                    <a:pt x="125" y="266"/>
                    <a:pt x="125" y="266"/>
                  </a:cubicBezTo>
                  <a:cubicBezTo>
                    <a:pt x="123" y="272"/>
                    <a:pt x="127" y="277"/>
                    <a:pt x="133" y="278"/>
                  </a:cubicBezTo>
                  <a:cubicBezTo>
                    <a:pt x="134" y="279"/>
                    <a:pt x="134" y="279"/>
                    <a:pt x="135" y="279"/>
                  </a:cubicBezTo>
                  <a:cubicBezTo>
                    <a:pt x="140" y="279"/>
                    <a:pt x="145" y="275"/>
                    <a:pt x="146" y="2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GB" kern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8" name="Freeform 10">
              <a:extLst>
                <a:ext uri="{FF2B5EF4-FFF2-40B4-BE49-F238E27FC236}">
                  <a16:creationId xmlns:a16="http://schemas.microsoft.com/office/drawing/2014/main" id="{A494E837-15D5-43F3-AA86-8486ED31D4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29" y="187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7"/>
                    <a:pt x="490" y="256"/>
                  </a:cubicBezTo>
                  <a:cubicBezTo>
                    <a:pt x="490" y="385"/>
                    <a:pt x="385" y="491"/>
                    <a:pt x="256" y="491"/>
                  </a:cubicBezTo>
                  <a:cubicBezTo>
                    <a:pt x="126" y="491"/>
                    <a:pt x="21" y="385"/>
                    <a:pt x="21" y="256"/>
                  </a:cubicBezTo>
                  <a:cubicBezTo>
                    <a:pt x="21" y="127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5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GB" kern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49" name="Group 844">
            <a:extLst>
              <a:ext uri="{FF2B5EF4-FFF2-40B4-BE49-F238E27FC236}">
                <a16:creationId xmlns:a16="http://schemas.microsoft.com/office/drawing/2014/main" id="{0DF8BBDB-BE6A-4791-861E-90480862FB9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8690" y="2735180"/>
            <a:ext cx="369021" cy="369021"/>
            <a:chOff x="380" y="3102"/>
            <a:chExt cx="340" cy="34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50" name="Freeform 845">
              <a:extLst>
                <a:ext uri="{FF2B5EF4-FFF2-40B4-BE49-F238E27FC236}">
                  <a16:creationId xmlns:a16="http://schemas.microsoft.com/office/drawing/2014/main" id="{ADAC2D96-D7E6-47AE-9205-861FEDAEC1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" y="3166"/>
              <a:ext cx="156" cy="212"/>
            </a:xfrm>
            <a:custGeom>
              <a:avLst/>
              <a:gdLst>
                <a:gd name="T0" fmla="*/ 214 w 235"/>
                <a:gd name="T1" fmla="*/ 258 h 320"/>
                <a:gd name="T2" fmla="*/ 214 w 235"/>
                <a:gd name="T3" fmla="*/ 181 h 320"/>
                <a:gd name="T4" fmla="*/ 182 w 235"/>
                <a:gd name="T5" fmla="*/ 149 h 320"/>
                <a:gd name="T6" fmla="*/ 128 w 235"/>
                <a:gd name="T7" fmla="*/ 149 h 320"/>
                <a:gd name="T8" fmla="*/ 128 w 235"/>
                <a:gd name="T9" fmla="*/ 62 h 320"/>
                <a:gd name="T10" fmla="*/ 150 w 235"/>
                <a:gd name="T11" fmla="*/ 32 h 320"/>
                <a:gd name="T12" fmla="*/ 118 w 235"/>
                <a:gd name="T13" fmla="*/ 0 h 320"/>
                <a:gd name="T14" fmla="*/ 86 w 235"/>
                <a:gd name="T15" fmla="*/ 32 h 320"/>
                <a:gd name="T16" fmla="*/ 107 w 235"/>
                <a:gd name="T17" fmla="*/ 62 h 320"/>
                <a:gd name="T18" fmla="*/ 107 w 235"/>
                <a:gd name="T19" fmla="*/ 149 h 320"/>
                <a:gd name="T20" fmla="*/ 54 w 235"/>
                <a:gd name="T21" fmla="*/ 149 h 320"/>
                <a:gd name="T22" fmla="*/ 22 w 235"/>
                <a:gd name="T23" fmla="*/ 181 h 320"/>
                <a:gd name="T24" fmla="*/ 22 w 235"/>
                <a:gd name="T25" fmla="*/ 258 h 320"/>
                <a:gd name="T26" fmla="*/ 0 w 235"/>
                <a:gd name="T27" fmla="*/ 288 h 320"/>
                <a:gd name="T28" fmla="*/ 32 w 235"/>
                <a:gd name="T29" fmla="*/ 320 h 320"/>
                <a:gd name="T30" fmla="*/ 64 w 235"/>
                <a:gd name="T31" fmla="*/ 288 h 320"/>
                <a:gd name="T32" fmla="*/ 43 w 235"/>
                <a:gd name="T33" fmla="*/ 258 h 320"/>
                <a:gd name="T34" fmla="*/ 43 w 235"/>
                <a:gd name="T35" fmla="*/ 181 h 320"/>
                <a:gd name="T36" fmla="*/ 54 w 235"/>
                <a:gd name="T37" fmla="*/ 170 h 320"/>
                <a:gd name="T38" fmla="*/ 107 w 235"/>
                <a:gd name="T39" fmla="*/ 170 h 320"/>
                <a:gd name="T40" fmla="*/ 107 w 235"/>
                <a:gd name="T41" fmla="*/ 258 h 320"/>
                <a:gd name="T42" fmla="*/ 86 w 235"/>
                <a:gd name="T43" fmla="*/ 288 h 320"/>
                <a:gd name="T44" fmla="*/ 118 w 235"/>
                <a:gd name="T45" fmla="*/ 320 h 320"/>
                <a:gd name="T46" fmla="*/ 150 w 235"/>
                <a:gd name="T47" fmla="*/ 288 h 320"/>
                <a:gd name="T48" fmla="*/ 128 w 235"/>
                <a:gd name="T49" fmla="*/ 258 h 320"/>
                <a:gd name="T50" fmla="*/ 128 w 235"/>
                <a:gd name="T51" fmla="*/ 170 h 320"/>
                <a:gd name="T52" fmla="*/ 182 w 235"/>
                <a:gd name="T53" fmla="*/ 170 h 320"/>
                <a:gd name="T54" fmla="*/ 192 w 235"/>
                <a:gd name="T55" fmla="*/ 181 h 320"/>
                <a:gd name="T56" fmla="*/ 192 w 235"/>
                <a:gd name="T57" fmla="*/ 258 h 320"/>
                <a:gd name="T58" fmla="*/ 171 w 235"/>
                <a:gd name="T59" fmla="*/ 288 h 320"/>
                <a:gd name="T60" fmla="*/ 203 w 235"/>
                <a:gd name="T61" fmla="*/ 320 h 320"/>
                <a:gd name="T62" fmla="*/ 235 w 235"/>
                <a:gd name="T63" fmla="*/ 288 h 320"/>
                <a:gd name="T64" fmla="*/ 214 w 235"/>
                <a:gd name="T65" fmla="*/ 258 h 320"/>
                <a:gd name="T66" fmla="*/ 118 w 235"/>
                <a:gd name="T67" fmla="*/ 21 h 320"/>
                <a:gd name="T68" fmla="*/ 128 w 235"/>
                <a:gd name="T69" fmla="*/ 32 h 320"/>
                <a:gd name="T70" fmla="*/ 118 w 235"/>
                <a:gd name="T71" fmla="*/ 42 h 320"/>
                <a:gd name="T72" fmla="*/ 107 w 235"/>
                <a:gd name="T73" fmla="*/ 32 h 320"/>
                <a:gd name="T74" fmla="*/ 118 w 235"/>
                <a:gd name="T75" fmla="*/ 21 h 320"/>
                <a:gd name="T76" fmla="*/ 32 w 235"/>
                <a:gd name="T77" fmla="*/ 298 h 320"/>
                <a:gd name="T78" fmla="*/ 22 w 235"/>
                <a:gd name="T79" fmla="*/ 288 h 320"/>
                <a:gd name="T80" fmla="*/ 32 w 235"/>
                <a:gd name="T81" fmla="*/ 277 h 320"/>
                <a:gd name="T82" fmla="*/ 43 w 235"/>
                <a:gd name="T83" fmla="*/ 288 h 320"/>
                <a:gd name="T84" fmla="*/ 32 w 235"/>
                <a:gd name="T85" fmla="*/ 298 h 320"/>
                <a:gd name="T86" fmla="*/ 118 w 235"/>
                <a:gd name="T87" fmla="*/ 298 h 320"/>
                <a:gd name="T88" fmla="*/ 107 w 235"/>
                <a:gd name="T89" fmla="*/ 288 h 320"/>
                <a:gd name="T90" fmla="*/ 118 w 235"/>
                <a:gd name="T91" fmla="*/ 277 h 320"/>
                <a:gd name="T92" fmla="*/ 128 w 235"/>
                <a:gd name="T93" fmla="*/ 288 h 320"/>
                <a:gd name="T94" fmla="*/ 118 w 235"/>
                <a:gd name="T95" fmla="*/ 298 h 320"/>
                <a:gd name="T96" fmla="*/ 203 w 235"/>
                <a:gd name="T97" fmla="*/ 298 h 320"/>
                <a:gd name="T98" fmla="*/ 192 w 235"/>
                <a:gd name="T99" fmla="*/ 288 h 320"/>
                <a:gd name="T100" fmla="*/ 203 w 235"/>
                <a:gd name="T101" fmla="*/ 277 h 320"/>
                <a:gd name="T102" fmla="*/ 214 w 235"/>
                <a:gd name="T103" fmla="*/ 288 h 320"/>
                <a:gd name="T104" fmla="*/ 203 w 235"/>
                <a:gd name="T105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35" h="320">
                  <a:moveTo>
                    <a:pt x="214" y="258"/>
                  </a:moveTo>
                  <a:cubicBezTo>
                    <a:pt x="214" y="181"/>
                    <a:pt x="214" y="181"/>
                    <a:pt x="214" y="181"/>
                  </a:cubicBezTo>
                  <a:cubicBezTo>
                    <a:pt x="214" y="158"/>
                    <a:pt x="195" y="149"/>
                    <a:pt x="182" y="149"/>
                  </a:cubicBezTo>
                  <a:cubicBezTo>
                    <a:pt x="128" y="149"/>
                    <a:pt x="128" y="149"/>
                    <a:pt x="128" y="149"/>
                  </a:cubicBezTo>
                  <a:cubicBezTo>
                    <a:pt x="128" y="62"/>
                    <a:pt x="128" y="62"/>
                    <a:pt x="128" y="62"/>
                  </a:cubicBezTo>
                  <a:cubicBezTo>
                    <a:pt x="141" y="57"/>
                    <a:pt x="150" y="46"/>
                    <a:pt x="150" y="32"/>
                  </a:cubicBezTo>
                  <a:cubicBezTo>
                    <a:pt x="150" y="14"/>
                    <a:pt x="135" y="0"/>
                    <a:pt x="118" y="0"/>
                  </a:cubicBezTo>
                  <a:cubicBezTo>
                    <a:pt x="100" y="0"/>
                    <a:pt x="86" y="14"/>
                    <a:pt x="86" y="32"/>
                  </a:cubicBezTo>
                  <a:cubicBezTo>
                    <a:pt x="86" y="46"/>
                    <a:pt x="95" y="57"/>
                    <a:pt x="107" y="62"/>
                  </a:cubicBezTo>
                  <a:cubicBezTo>
                    <a:pt x="107" y="149"/>
                    <a:pt x="107" y="149"/>
                    <a:pt x="107" y="149"/>
                  </a:cubicBezTo>
                  <a:cubicBezTo>
                    <a:pt x="54" y="149"/>
                    <a:pt x="54" y="149"/>
                    <a:pt x="54" y="149"/>
                  </a:cubicBezTo>
                  <a:cubicBezTo>
                    <a:pt x="31" y="149"/>
                    <a:pt x="22" y="168"/>
                    <a:pt x="22" y="181"/>
                  </a:cubicBezTo>
                  <a:cubicBezTo>
                    <a:pt x="22" y="258"/>
                    <a:pt x="22" y="258"/>
                    <a:pt x="22" y="258"/>
                  </a:cubicBezTo>
                  <a:cubicBezTo>
                    <a:pt x="9" y="262"/>
                    <a:pt x="0" y="274"/>
                    <a:pt x="0" y="288"/>
                  </a:cubicBezTo>
                  <a:cubicBezTo>
                    <a:pt x="0" y="305"/>
                    <a:pt x="15" y="320"/>
                    <a:pt x="32" y="320"/>
                  </a:cubicBezTo>
                  <a:cubicBezTo>
                    <a:pt x="50" y="320"/>
                    <a:pt x="64" y="305"/>
                    <a:pt x="64" y="288"/>
                  </a:cubicBezTo>
                  <a:cubicBezTo>
                    <a:pt x="64" y="274"/>
                    <a:pt x="55" y="262"/>
                    <a:pt x="43" y="258"/>
                  </a:cubicBezTo>
                  <a:cubicBezTo>
                    <a:pt x="43" y="181"/>
                    <a:pt x="43" y="181"/>
                    <a:pt x="43" y="181"/>
                  </a:cubicBezTo>
                  <a:cubicBezTo>
                    <a:pt x="43" y="179"/>
                    <a:pt x="44" y="170"/>
                    <a:pt x="54" y="170"/>
                  </a:cubicBezTo>
                  <a:cubicBezTo>
                    <a:pt x="107" y="170"/>
                    <a:pt x="107" y="170"/>
                    <a:pt x="107" y="170"/>
                  </a:cubicBezTo>
                  <a:cubicBezTo>
                    <a:pt x="107" y="258"/>
                    <a:pt x="107" y="258"/>
                    <a:pt x="107" y="258"/>
                  </a:cubicBezTo>
                  <a:cubicBezTo>
                    <a:pt x="95" y="262"/>
                    <a:pt x="86" y="274"/>
                    <a:pt x="86" y="288"/>
                  </a:cubicBezTo>
                  <a:cubicBezTo>
                    <a:pt x="86" y="305"/>
                    <a:pt x="100" y="320"/>
                    <a:pt x="118" y="320"/>
                  </a:cubicBezTo>
                  <a:cubicBezTo>
                    <a:pt x="135" y="320"/>
                    <a:pt x="150" y="305"/>
                    <a:pt x="150" y="288"/>
                  </a:cubicBezTo>
                  <a:cubicBezTo>
                    <a:pt x="150" y="274"/>
                    <a:pt x="141" y="262"/>
                    <a:pt x="128" y="258"/>
                  </a:cubicBezTo>
                  <a:cubicBezTo>
                    <a:pt x="128" y="170"/>
                    <a:pt x="128" y="170"/>
                    <a:pt x="128" y="170"/>
                  </a:cubicBezTo>
                  <a:cubicBezTo>
                    <a:pt x="182" y="170"/>
                    <a:pt x="182" y="170"/>
                    <a:pt x="182" y="170"/>
                  </a:cubicBezTo>
                  <a:cubicBezTo>
                    <a:pt x="186" y="170"/>
                    <a:pt x="192" y="172"/>
                    <a:pt x="192" y="181"/>
                  </a:cubicBezTo>
                  <a:cubicBezTo>
                    <a:pt x="192" y="258"/>
                    <a:pt x="192" y="258"/>
                    <a:pt x="192" y="258"/>
                  </a:cubicBezTo>
                  <a:cubicBezTo>
                    <a:pt x="180" y="262"/>
                    <a:pt x="171" y="274"/>
                    <a:pt x="171" y="288"/>
                  </a:cubicBezTo>
                  <a:cubicBezTo>
                    <a:pt x="171" y="305"/>
                    <a:pt x="185" y="320"/>
                    <a:pt x="203" y="320"/>
                  </a:cubicBezTo>
                  <a:cubicBezTo>
                    <a:pt x="221" y="320"/>
                    <a:pt x="235" y="305"/>
                    <a:pt x="235" y="288"/>
                  </a:cubicBezTo>
                  <a:cubicBezTo>
                    <a:pt x="235" y="274"/>
                    <a:pt x="226" y="262"/>
                    <a:pt x="214" y="258"/>
                  </a:cubicBezTo>
                  <a:close/>
                  <a:moveTo>
                    <a:pt x="118" y="21"/>
                  </a:moveTo>
                  <a:cubicBezTo>
                    <a:pt x="124" y="21"/>
                    <a:pt x="128" y="26"/>
                    <a:pt x="128" y="32"/>
                  </a:cubicBezTo>
                  <a:cubicBezTo>
                    <a:pt x="128" y="38"/>
                    <a:pt x="124" y="42"/>
                    <a:pt x="118" y="42"/>
                  </a:cubicBezTo>
                  <a:cubicBezTo>
                    <a:pt x="112" y="42"/>
                    <a:pt x="107" y="38"/>
                    <a:pt x="107" y="32"/>
                  </a:cubicBezTo>
                  <a:cubicBezTo>
                    <a:pt x="107" y="26"/>
                    <a:pt x="112" y="21"/>
                    <a:pt x="118" y="21"/>
                  </a:cubicBezTo>
                  <a:close/>
                  <a:moveTo>
                    <a:pt x="32" y="298"/>
                  </a:moveTo>
                  <a:cubicBezTo>
                    <a:pt x="26" y="298"/>
                    <a:pt x="22" y="294"/>
                    <a:pt x="22" y="288"/>
                  </a:cubicBezTo>
                  <a:cubicBezTo>
                    <a:pt x="22" y="282"/>
                    <a:pt x="26" y="277"/>
                    <a:pt x="32" y="277"/>
                  </a:cubicBezTo>
                  <a:cubicBezTo>
                    <a:pt x="38" y="277"/>
                    <a:pt x="43" y="282"/>
                    <a:pt x="43" y="288"/>
                  </a:cubicBezTo>
                  <a:cubicBezTo>
                    <a:pt x="43" y="294"/>
                    <a:pt x="38" y="298"/>
                    <a:pt x="32" y="298"/>
                  </a:cubicBezTo>
                  <a:close/>
                  <a:moveTo>
                    <a:pt x="118" y="298"/>
                  </a:moveTo>
                  <a:cubicBezTo>
                    <a:pt x="112" y="298"/>
                    <a:pt x="107" y="294"/>
                    <a:pt x="107" y="288"/>
                  </a:cubicBezTo>
                  <a:cubicBezTo>
                    <a:pt x="107" y="282"/>
                    <a:pt x="112" y="277"/>
                    <a:pt x="118" y="277"/>
                  </a:cubicBezTo>
                  <a:cubicBezTo>
                    <a:pt x="124" y="277"/>
                    <a:pt x="128" y="282"/>
                    <a:pt x="128" y="288"/>
                  </a:cubicBezTo>
                  <a:cubicBezTo>
                    <a:pt x="128" y="294"/>
                    <a:pt x="124" y="298"/>
                    <a:pt x="118" y="298"/>
                  </a:cubicBezTo>
                  <a:close/>
                  <a:moveTo>
                    <a:pt x="203" y="298"/>
                  </a:moveTo>
                  <a:cubicBezTo>
                    <a:pt x="197" y="298"/>
                    <a:pt x="192" y="294"/>
                    <a:pt x="192" y="288"/>
                  </a:cubicBezTo>
                  <a:cubicBezTo>
                    <a:pt x="192" y="282"/>
                    <a:pt x="197" y="277"/>
                    <a:pt x="203" y="277"/>
                  </a:cubicBezTo>
                  <a:cubicBezTo>
                    <a:pt x="209" y="277"/>
                    <a:pt x="214" y="282"/>
                    <a:pt x="214" y="288"/>
                  </a:cubicBezTo>
                  <a:cubicBezTo>
                    <a:pt x="214" y="294"/>
                    <a:pt x="209" y="298"/>
                    <a:pt x="203" y="2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GB" kern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1" name="Freeform 846">
              <a:extLst>
                <a:ext uri="{FF2B5EF4-FFF2-40B4-BE49-F238E27FC236}">
                  <a16:creationId xmlns:a16="http://schemas.microsoft.com/office/drawing/2014/main" id="{17D7836F-6A76-4CC8-B098-1614950ED0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0" y="310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GB" kern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52" name="Group 555">
            <a:extLst>
              <a:ext uri="{FF2B5EF4-FFF2-40B4-BE49-F238E27FC236}">
                <a16:creationId xmlns:a16="http://schemas.microsoft.com/office/drawing/2014/main" id="{1203EB50-2698-4910-A1FB-6DE624B8EA0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8145" y="2087626"/>
            <a:ext cx="370107" cy="369021"/>
            <a:chOff x="1130" y="1948"/>
            <a:chExt cx="341" cy="34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53" name="Freeform 556">
              <a:extLst>
                <a:ext uri="{FF2B5EF4-FFF2-40B4-BE49-F238E27FC236}">
                  <a16:creationId xmlns:a16="http://schemas.microsoft.com/office/drawing/2014/main" id="{BE1B4EF4-B0BE-41D7-8799-1BBE50EAC5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0" y="1948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GB" kern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4" name="Freeform 557">
              <a:extLst>
                <a:ext uri="{FF2B5EF4-FFF2-40B4-BE49-F238E27FC236}">
                  <a16:creationId xmlns:a16="http://schemas.microsoft.com/office/drawing/2014/main" id="{7BCBE6E1-9FC3-41DC-BCF3-44A989AF9A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2" y="2068"/>
              <a:ext cx="85" cy="14"/>
            </a:xfrm>
            <a:custGeom>
              <a:avLst/>
              <a:gdLst>
                <a:gd name="T0" fmla="*/ 10 w 128"/>
                <a:gd name="T1" fmla="*/ 21 h 21"/>
                <a:gd name="T2" fmla="*/ 117 w 128"/>
                <a:gd name="T3" fmla="*/ 21 h 21"/>
                <a:gd name="T4" fmla="*/ 128 w 128"/>
                <a:gd name="T5" fmla="*/ 11 h 21"/>
                <a:gd name="T6" fmla="*/ 117 w 128"/>
                <a:gd name="T7" fmla="*/ 0 h 21"/>
                <a:gd name="T8" fmla="*/ 10 w 128"/>
                <a:gd name="T9" fmla="*/ 0 h 21"/>
                <a:gd name="T10" fmla="*/ 0 w 128"/>
                <a:gd name="T11" fmla="*/ 11 h 21"/>
                <a:gd name="T12" fmla="*/ 10 w 128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21">
                  <a:moveTo>
                    <a:pt x="10" y="21"/>
                  </a:moveTo>
                  <a:cubicBezTo>
                    <a:pt x="117" y="21"/>
                    <a:pt x="117" y="21"/>
                    <a:pt x="117" y="21"/>
                  </a:cubicBezTo>
                  <a:cubicBezTo>
                    <a:pt x="123" y="21"/>
                    <a:pt x="128" y="17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GB" kern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5" name="Freeform 558">
              <a:extLst>
                <a:ext uri="{FF2B5EF4-FFF2-40B4-BE49-F238E27FC236}">
                  <a16:creationId xmlns:a16="http://schemas.microsoft.com/office/drawing/2014/main" id="{5126F55E-A1E7-47F8-B986-53F8F7791A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2" y="2097"/>
              <a:ext cx="85" cy="14"/>
            </a:xfrm>
            <a:custGeom>
              <a:avLst/>
              <a:gdLst>
                <a:gd name="T0" fmla="*/ 117 w 128"/>
                <a:gd name="T1" fmla="*/ 0 h 21"/>
                <a:gd name="T2" fmla="*/ 10 w 128"/>
                <a:gd name="T3" fmla="*/ 0 h 21"/>
                <a:gd name="T4" fmla="*/ 0 w 128"/>
                <a:gd name="T5" fmla="*/ 10 h 21"/>
                <a:gd name="T6" fmla="*/ 10 w 128"/>
                <a:gd name="T7" fmla="*/ 21 h 21"/>
                <a:gd name="T8" fmla="*/ 117 w 128"/>
                <a:gd name="T9" fmla="*/ 21 h 21"/>
                <a:gd name="T10" fmla="*/ 128 w 128"/>
                <a:gd name="T11" fmla="*/ 10 h 21"/>
                <a:gd name="T12" fmla="*/ 117 w 128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21">
                  <a:moveTo>
                    <a:pt x="117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6"/>
                    <a:pt x="4" y="21"/>
                    <a:pt x="10" y="21"/>
                  </a:cubicBezTo>
                  <a:cubicBezTo>
                    <a:pt x="117" y="21"/>
                    <a:pt x="117" y="21"/>
                    <a:pt x="117" y="21"/>
                  </a:cubicBezTo>
                  <a:cubicBezTo>
                    <a:pt x="123" y="21"/>
                    <a:pt x="128" y="16"/>
                    <a:pt x="128" y="10"/>
                  </a:cubicBezTo>
                  <a:cubicBezTo>
                    <a:pt x="128" y="4"/>
                    <a:pt x="123" y="0"/>
                    <a:pt x="1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GB" kern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6" name="Freeform 559">
              <a:extLst>
                <a:ext uri="{FF2B5EF4-FFF2-40B4-BE49-F238E27FC236}">
                  <a16:creationId xmlns:a16="http://schemas.microsoft.com/office/drawing/2014/main" id="{2CA6369D-1B18-4411-8E63-59503B1EE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2" y="2125"/>
              <a:ext cx="85" cy="14"/>
            </a:xfrm>
            <a:custGeom>
              <a:avLst/>
              <a:gdLst>
                <a:gd name="T0" fmla="*/ 117 w 128"/>
                <a:gd name="T1" fmla="*/ 0 h 22"/>
                <a:gd name="T2" fmla="*/ 10 w 128"/>
                <a:gd name="T3" fmla="*/ 0 h 22"/>
                <a:gd name="T4" fmla="*/ 0 w 128"/>
                <a:gd name="T5" fmla="*/ 11 h 22"/>
                <a:gd name="T6" fmla="*/ 10 w 128"/>
                <a:gd name="T7" fmla="*/ 22 h 22"/>
                <a:gd name="T8" fmla="*/ 117 w 128"/>
                <a:gd name="T9" fmla="*/ 22 h 22"/>
                <a:gd name="T10" fmla="*/ 128 w 128"/>
                <a:gd name="T11" fmla="*/ 11 h 22"/>
                <a:gd name="T12" fmla="*/ 117 w 128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22">
                  <a:moveTo>
                    <a:pt x="117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2"/>
                    <a:pt x="10" y="22"/>
                  </a:cubicBezTo>
                  <a:cubicBezTo>
                    <a:pt x="117" y="22"/>
                    <a:pt x="117" y="22"/>
                    <a:pt x="117" y="22"/>
                  </a:cubicBezTo>
                  <a:cubicBezTo>
                    <a:pt x="123" y="22"/>
                    <a:pt x="128" y="17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GB" kern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7" name="Freeform 560">
              <a:extLst>
                <a:ext uri="{FF2B5EF4-FFF2-40B4-BE49-F238E27FC236}">
                  <a16:creationId xmlns:a16="http://schemas.microsoft.com/office/drawing/2014/main" id="{43D117E4-CA93-4892-9CB2-5DBBF65B9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3" y="2051"/>
              <a:ext cx="143" cy="139"/>
            </a:xfrm>
            <a:custGeom>
              <a:avLst/>
              <a:gdLst>
                <a:gd name="T0" fmla="*/ 209 w 216"/>
                <a:gd name="T1" fmla="*/ 187 h 209"/>
                <a:gd name="T2" fmla="*/ 173 w 216"/>
                <a:gd name="T3" fmla="*/ 179 h 209"/>
                <a:gd name="T4" fmla="*/ 156 w 216"/>
                <a:gd name="T5" fmla="*/ 176 h 209"/>
                <a:gd name="T6" fmla="*/ 145 w 216"/>
                <a:gd name="T7" fmla="*/ 147 h 209"/>
                <a:gd name="T8" fmla="*/ 167 w 216"/>
                <a:gd name="T9" fmla="*/ 96 h 209"/>
                <a:gd name="T10" fmla="*/ 157 w 216"/>
                <a:gd name="T11" fmla="*/ 22 h 209"/>
                <a:gd name="T12" fmla="*/ 109 w 216"/>
                <a:gd name="T13" fmla="*/ 0 h 209"/>
                <a:gd name="T14" fmla="*/ 59 w 216"/>
                <a:gd name="T15" fmla="*/ 22 h 209"/>
                <a:gd name="T16" fmla="*/ 50 w 216"/>
                <a:gd name="T17" fmla="*/ 96 h 209"/>
                <a:gd name="T18" fmla="*/ 72 w 216"/>
                <a:gd name="T19" fmla="*/ 147 h 209"/>
                <a:gd name="T20" fmla="*/ 61 w 216"/>
                <a:gd name="T21" fmla="*/ 176 h 209"/>
                <a:gd name="T22" fmla="*/ 43 w 216"/>
                <a:gd name="T23" fmla="*/ 179 h 209"/>
                <a:gd name="T24" fmla="*/ 7 w 216"/>
                <a:gd name="T25" fmla="*/ 187 h 209"/>
                <a:gd name="T26" fmla="*/ 3 w 216"/>
                <a:gd name="T27" fmla="*/ 202 h 209"/>
                <a:gd name="T28" fmla="*/ 17 w 216"/>
                <a:gd name="T29" fmla="*/ 206 h 209"/>
                <a:gd name="T30" fmla="*/ 45 w 216"/>
                <a:gd name="T31" fmla="*/ 201 h 209"/>
                <a:gd name="T32" fmla="*/ 70 w 216"/>
                <a:gd name="T33" fmla="*/ 196 h 209"/>
                <a:gd name="T34" fmla="*/ 91 w 216"/>
                <a:gd name="T35" fmla="*/ 163 h 209"/>
                <a:gd name="T36" fmla="*/ 90 w 216"/>
                <a:gd name="T37" fmla="*/ 135 h 209"/>
                <a:gd name="T38" fmla="*/ 71 w 216"/>
                <a:gd name="T39" fmla="*/ 91 h 209"/>
                <a:gd name="T40" fmla="*/ 76 w 216"/>
                <a:gd name="T41" fmla="*/ 36 h 209"/>
                <a:gd name="T42" fmla="*/ 109 w 216"/>
                <a:gd name="T43" fmla="*/ 22 h 209"/>
                <a:gd name="T44" fmla="*/ 141 w 216"/>
                <a:gd name="T45" fmla="*/ 36 h 209"/>
                <a:gd name="T46" fmla="*/ 146 w 216"/>
                <a:gd name="T47" fmla="*/ 91 h 209"/>
                <a:gd name="T48" fmla="*/ 127 w 216"/>
                <a:gd name="T49" fmla="*/ 135 h 209"/>
                <a:gd name="T50" fmla="*/ 125 w 216"/>
                <a:gd name="T51" fmla="*/ 163 h 209"/>
                <a:gd name="T52" fmla="*/ 146 w 216"/>
                <a:gd name="T53" fmla="*/ 196 h 209"/>
                <a:gd name="T54" fmla="*/ 171 w 216"/>
                <a:gd name="T55" fmla="*/ 201 h 209"/>
                <a:gd name="T56" fmla="*/ 199 w 216"/>
                <a:gd name="T57" fmla="*/ 206 h 209"/>
                <a:gd name="T58" fmla="*/ 204 w 216"/>
                <a:gd name="T59" fmla="*/ 207 h 209"/>
                <a:gd name="T60" fmla="*/ 214 w 216"/>
                <a:gd name="T61" fmla="*/ 202 h 209"/>
                <a:gd name="T62" fmla="*/ 209 w 216"/>
                <a:gd name="T63" fmla="*/ 18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6" h="209">
                  <a:moveTo>
                    <a:pt x="209" y="187"/>
                  </a:moveTo>
                  <a:cubicBezTo>
                    <a:pt x="199" y="182"/>
                    <a:pt x="185" y="180"/>
                    <a:pt x="173" y="179"/>
                  </a:cubicBezTo>
                  <a:cubicBezTo>
                    <a:pt x="166" y="179"/>
                    <a:pt x="158" y="178"/>
                    <a:pt x="156" y="176"/>
                  </a:cubicBezTo>
                  <a:cubicBezTo>
                    <a:pt x="149" y="173"/>
                    <a:pt x="143" y="153"/>
                    <a:pt x="145" y="147"/>
                  </a:cubicBezTo>
                  <a:cubicBezTo>
                    <a:pt x="153" y="134"/>
                    <a:pt x="162" y="114"/>
                    <a:pt x="167" y="96"/>
                  </a:cubicBezTo>
                  <a:cubicBezTo>
                    <a:pt x="174" y="64"/>
                    <a:pt x="171" y="39"/>
                    <a:pt x="157" y="22"/>
                  </a:cubicBezTo>
                  <a:cubicBezTo>
                    <a:pt x="139" y="0"/>
                    <a:pt x="109" y="0"/>
                    <a:pt x="109" y="0"/>
                  </a:cubicBezTo>
                  <a:cubicBezTo>
                    <a:pt x="107" y="0"/>
                    <a:pt x="78" y="0"/>
                    <a:pt x="59" y="22"/>
                  </a:cubicBezTo>
                  <a:cubicBezTo>
                    <a:pt x="45" y="39"/>
                    <a:pt x="42" y="64"/>
                    <a:pt x="50" y="96"/>
                  </a:cubicBezTo>
                  <a:cubicBezTo>
                    <a:pt x="54" y="114"/>
                    <a:pt x="63" y="134"/>
                    <a:pt x="72" y="147"/>
                  </a:cubicBezTo>
                  <a:cubicBezTo>
                    <a:pt x="73" y="153"/>
                    <a:pt x="67" y="173"/>
                    <a:pt x="61" y="176"/>
                  </a:cubicBezTo>
                  <a:cubicBezTo>
                    <a:pt x="58" y="178"/>
                    <a:pt x="50" y="179"/>
                    <a:pt x="43" y="179"/>
                  </a:cubicBezTo>
                  <a:cubicBezTo>
                    <a:pt x="31" y="180"/>
                    <a:pt x="18" y="182"/>
                    <a:pt x="7" y="187"/>
                  </a:cubicBezTo>
                  <a:cubicBezTo>
                    <a:pt x="2" y="190"/>
                    <a:pt x="0" y="196"/>
                    <a:pt x="3" y="202"/>
                  </a:cubicBezTo>
                  <a:cubicBezTo>
                    <a:pt x="6" y="207"/>
                    <a:pt x="12" y="209"/>
                    <a:pt x="17" y="206"/>
                  </a:cubicBezTo>
                  <a:cubicBezTo>
                    <a:pt x="24" y="202"/>
                    <a:pt x="35" y="201"/>
                    <a:pt x="45" y="201"/>
                  </a:cubicBezTo>
                  <a:cubicBezTo>
                    <a:pt x="55" y="200"/>
                    <a:pt x="64" y="199"/>
                    <a:pt x="70" y="196"/>
                  </a:cubicBezTo>
                  <a:cubicBezTo>
                    <a:pt x="84" y="189"/>
                    <a:pt x="90" y="169"/>
                    <a:pt x="91" y="163"/>
                  </a:cubicBezTo>
                  <a:cubicBezTo>
                    <a:pt x="93" y="154"/>
                    <a:pt x="95" y="142"/>
                    <a:pt x="90" y="135"/>
                  </a:cubicBezTo>
                  <a:cubicBezTo>
                    <a:pt x="82" y="125"/>
                    <a:pt x="74" y="106"/>
                    <a:pt x="71" y="91"/>
                  </a:cubicBezTo>
                  <a:cubicBezTo>
                    <a:pt x="65" y="66"/>
                    <a:pt x="66" y="47"/>
                    <a:pt x="76" y="36"/>
                  </a:cubicBezTo>
                  <a:cubicBezTo>
                    <a:pt x="87" y="21"/>
                    <a:pt x="108" y="21"/>
                    <a:pt x="109" y="22"/>
                  </a:cubicBezTo>
                  <a:cubicBezTo>
                    <a:pt x="109" y="21"/>
                    <a:pt x="129" y="21"/>
                    <a:pt x="141" y="36"/>
                  </a:cubicBezTo>
                  <a:cubicBezTo>
                    <a:pt x="150" y="47"/>
                    <a:pt x="152" y="66"/>
                    <a:pt x="146" y="91"/>
                  </a:cubicBezTo>
                  <a:cubicBezTo>
                    <a:pt x="142" y="106"/>
                    <a:pt x="134" y="125"/>
                    <a:pt x="127" y="135"/>
                  </a:cubicBezTo>
                  <a:cubicBezTo>
                    <a:pt x="122" y="142"/>
                    <a:pt x="123" y="154"/>
                    <a:pt x="125" y="163"/>
                  </a:cubicBezTo>
                  <a:cubicBezTo>
                    <a:pt x="127" y="169"/>
                    <a:pt x="133" y="189"/>
                    <a:pt x="146" y="196"/>
                  </a:cubicBezTo>
                  <a:cubicBezTo>
                    <a:pt x="153" y="199"/>
                    <a:pt x="161" y="200"/>
                    <a:pt x="171" y="201"/>
                  </a:cubicBezTo>
                  <a:cubicBezTo>
                    <a:pt x="181" y="201"/>
                    <a:pt x="192" y="202"/>
                    <a:pt x="199" y="206"/>
                  </a:cubicBezTo>
                  <a:cubicBezTo>
                    <a:pt x="201" y="207"/>
                    <a:pt x="202" y="207"/>
                    <a:pt x="204" y="207"/>
                  </a:cubicBezTo>
                  <a:cubicBezTo>
                    <a:pt x="208" y="207"/>
                    <a:pt x="212" y="205"/>
                    <a:pt x="214" y="202"/>
                  </a:cubicBezTo>
                  <a:cubicBezTo>
                    <a:pt x="216" y="196"/>
                    <a:pt x="214" y="190"/>
                    <a:pt x="209" y="1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GB" kern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69" name="Rectangle 68">
            <a:extLst>
              <a:ext uri="{FF2B5EF4-FFF2-40B4-BE49-F238E27FC236}">
                <a16:creationId xmlns:a16="http://schemas.microsoft.com/office/drawing/2014/main" id="{8358F714-5210-4816-8B9F-895CE405F751}"/>
              </a:ext>
            </a:extLst>
          </p:cNvPr>
          <p:cNvSpPr/>
          <p:nvPr/>
        </p:nvSpPr>
        <p:spPr>
          <a:xfrm>
            <a:off x="642384" y="1006539"/>
            <a:ext cx="12173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377">
              <a:defRPr/>
            </a:pPr>
            <a:r>
              <a:rPr lang="en-US" b="1" cap="all" spc="300" dirty="0">
                <a:solidFill>
                  <a:srgbClr val="3B3B3B"/>
                </a:solidFill>
                <a:latin typeface="Calibri" panose="020F0502020204030204" pitchFamily="34" charset="0"/>
              </a:rPr>
              <a:t>RPA Is…</a:t>
            </a:r>
            <a:endParaRPr lang="en-US" b="1" spc="3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3978061-DC09-411B-8513-D6CC7DC314C1}"/>
              </a:ext>
            </a:extLst>
          </p:cNvPr>
          <p:cNvSpPr/>
          <p:nvPr/>
        </p:nvSpPr>
        <p:spPr>
          <a:xfrm>
            <a:off x="7703853" y="1472138"/>
            <a:ext cx="349239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defRPr/>
            </a:pP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alking, talking robots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DD0381C-ECF4-4B03-BE8B-0997265FCECF}"/>
              </a:ext>
            </a:extLst>
          </p:cNvPr>
          <p:cNvSpPr/>
          <p:nvPr/>
        </p:nvSpPr>
        <p:spPr>
          <a:xfrm>
            <a:off x="7703853" y="1979750"/>
            <a:ext cx="34923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defRPr/>
            </a:pP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hysically existing machines processing paper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02C6647-8C0C-4EC7-9628-04966117EFF4}"/>
              </a:ext>
            </a:extLst>
          </p:cNvPr>
          <p:cNvSpPr/>
          <p:nvPr/>
        </p:nvSpPr>
        <p:spPr>
          <a:xfrm>
            <a:off x="7703852" y="2627305"/>
            <a:ext cx="374904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defRPr/>
            </a:pPr>
            <a:r>
              <a:rPr lang="en-US" sz="16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rtificial intelligence or voice recognition and chat software</a:t>
            </a:r>
          </a:p>
        </p:txBody>
      </p:sp>
      <p:grpSp>
        <p:nvGrpSpPr>
          <p:cNvPr id="58" name="Group 627">
            <a:extLst>
              <a:ext uri="{FF2B5EF4-FFF2-40B4-BE49-F238E27FC236}">
                <a16:creationId xmlns:a16="http://schemas.microsoft.com/office/drawing/2014/main" id="{952C7019-2BD5-45F6-85EE-99B40F96209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16154" y="2735159"/>
            <a:ext cx="367983" cy="369064"/>
            <a:chOff x="5295" y="2587"/>
            <a:chExt cx="340" cy="341"/>
          </a:xfrm>
          <a:solidFill>
            <a:srgbClr val="75787B"/>
          </a:solidFill>
        </p:grpSpPr>
        <p:sp>
          <p:nvSpPr>
            <p:cNvPr id="59" name="Freeform 628">
              <a:extLst>
                <a:ext uri="{FF2B5EF4-FFF2-40B4-BE49-F238E27FC236}">
                  <a16:creationId xmlns:a16="http://schemas.microsoft.com/office/drawing/2014/main" id="{93FC541F-5345-4460-961E-44B606CE2A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5" y="2587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GB" kern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0" name="Freeform 629">
              <a:extLst>
                <a:ext uri="{FF2B5EF4-FFF2-40B4-BE49-F238E27FC236}">
                  <a16:creationId xmlns:a16="http://schemas.microsoft.com/office/drawing/2014/main" id="{3E36D5A1-2ECE-4DDF-91D4-B5785992EE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9" y="2665"/>
              <a:ext cx="212" cy="184"/>
            </a:xfrm>
            <a:custGeom>
              <a:avLst/>
              <a:gdLst>
                <a:gd name="T0" fmla="*/ 309 w 320"/>
                <a:gd name="T1" fmla="*/ 91 h 277"/>
                <a:gd name="T2" fmla="*/ 199 w 320"/>
                <a:gd name="T3" fmla="*/ 15 h 277"/>
                <a:gd name="T4" fmla="*/ 91 w 320"/>
                <a:gd name="T5" fmla="*/ 23 h 277"/>
                <a:gd name="T6" fmla="*/ 32 w 320"/>
                <a:gd name="T7" fmla="*/ 73 h 277"/>
                <a:gd name="T8" fmla="*/ 87 w 320"/>
                <a:gd name="T9" fmla="*/ 187 h 277"/>
                <a:gd name="T10" fmla="*/ 170 w 320"/>
                <a:gd name="T11" fmla="*/ 211 h 277"/>
                <a:gd name="T12" fmla="*/ 245 w 320"/>
                <a:gd name="T13" fmla="*/ 277 h 277"/>
                <a:gd name="T14" fmla="*/ 298 w 320"/>
                <a:gd name="T15" fmla="*/ 197 h 277"/>
                <a:gd name="T16" fmla="*/ 280 w 320"/>
                <a:gd name="T17" fmla="*/ 169 h 277"/>
                <a:gd name="T18" fmla="*/ 277 w 320"/>
                <a:gd name="T19" fmla="*/ 198 h 277"/>
                <a:gd name="T20" fmla="*/ 192 w 320"/>
                <a:gd name="T21" fmla="*/ 256 h 277"/>
                <a:gd name="T22" fmla="*/ 161 w 320"/>
                <a:gd name="T23" fmla="*/ 174 h 277"/>
                <a:gd name="T24" fmla="*/ 122 w 320"/>
                <a:gd name="T25" fmla="*/ 181 h 277"/>
                <a:gd name="T26" fmla="*/ 64 w 320"/>
                <a:gd name="T27" fmla="*/ 171 h 277"/>
                <a:gd name="T28" fmla="*/ 54 w 320"/>
                <a:gd name="T29" fmla="*/ 76 h 277"/>
                <a:gd name="T30" fmla="*/ 90 w 320"/>
                <a:gd name="T31" fmla="*/ 45 h 277"/>
                <a:gd name="T32" fmla="*/ 145 w 320"/>
                <a:gd name="T33" fmla="*/ 31 h 277"/>
                <a:gd name="T34" fmla="*/ 195 w 320"/>
                <a:gd name="T35" fmla="*/ 39 h 277"/>
                <a:gd name="T36" fmla="*/ 245 w 320"/>
                <a:gd name="T37" fmla="*/ 55 h 277"/>
                <a:gd name="T38" fmla="*/ 261 w 320"/>
                <a:gd name="T39" fmla="*/ 64 h 277"/>
                <a:gd name="T40" fmla="*/ 281 w 320"/>
                <a:gd name="T41" fmla="*/ 114 h 277"/>
                <a:gd name="T42" fmla="*/ 280 w 320"/>
                <a:gd name="T43" fmla="*/ 169 h 277"/>
                <a:gd name="T44" fmla="*/ 100 w 320"/>
                <a:gd name="T45" fmla="*/ 127 h 277"/>
                <a:gd name="T46" fmla="*/ 53 w 320"/>
                <a:gd name="T47" fmla="*/ 139 h 277"/>
                <a:gd name="T48" fmla="*/ 83 w 320"/>
                <a:gd name="T49" fmla="*/ 104 h 277"/>
                <a:gd name="T50" fmla="*/ 94 w 320"/>
                <a:gd name="T51" fmla="*/ 70 h 277"/>
                <a:gd name="T52" fmla="*/ 138 w 320"/>
                <a:gd name="T53" fmla="*/ 68 h 277"/>
                <a:gd name="T54" fmla="*/ 159 w 320"/>
                <a:gd name="T55" fmla="*/ 60 h 277"/>
                <a:gd name="T56" fmla="*/ 163 w 320"/>
                <a:gd name="T57" fmla="*/ 81 h 277"/>
                <a:gd name="T58" fmla="*/ 138 w 320"/>
                <a:gd name="T59" fmla="*/ 96 h 277"/>
                <a:gd name="T60" fmla="*/ 188 w 320"/>
                <a:gd name="T61" fmla="*/ 131 h 277"/>
                <a:gd name="T62" fmla="*/ 177 w 320"/>
                <a:gd name="T63" fmla="*/ 149 h 277"/>
                <a:gd name="T64" fmla="*/ 134 w 320"/>
                <a:gd name="T65" fmla="*/ 129 h 277"/>
                <a:gd name="T66" fmla="*/ 187 w 320"/>
                <a:gd name="T67" fmla="*/ 98 h 277"/>
                <a:gd name="T68" fmla="*/ 224 w 320"/>
                <a:gd name="T69" fmla="*/ 75 h 277"/>
                <a:gd name="T70" fmla="*/ 251 w 320"/>
                <a:gd name="T71" fmla="*/ 116 h 277"/>
                <a:gd name="T72" fmla="*/ 222 w 320"/>
                <a:gd name="T73" fmla="*/ 96 h 277"/>
                <a:gd name="T74" fmla="*/ 266 w 320"/>
                <a:gd name="T75" fmla="*/ 149 h 277"/>
                <a:gd name="T76" fmla="*/ 244 w 320"/>
                <a:gd name="T77" fmla="*/ 164 h 277"/>
                <a:gd name="T78" fmla="*/ 244 w 320"/>
                <a:gd name="T79" fmla="*/ 207 h 277"/>
                <a:gd name="T80" fmla="*/ 212 w 320"/>
                <a:gd name="T81" fmla="*/ 194 h 277"/>
                <a:gd name="T82" fmla="*/ 217 w 320"/>
                <a:gd name="T83" fmla="*/ 147 h 277"/>
                <a:gd name="T84" fmla="*/ 238 w 320"/>
                <a:gd name="T85" fmla="*/ 138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0" h="277">
                  <a:moveTo>
                    <a:pt x="320" y="144"/>
                  </a:moveTo>
                  <a:cubicBezTo>
                    <a:pt x="320" y="131"/>
                    <a:pt x="314" y="119"/>
                    <a:pt x="305" y="110"/>
                  </a:cubicBezTo>
                  <a:cubicBezTo>
                    <a:pt x="308" y="104"/>
                    <a:pt x="309" y="97"/>
                    <a:pt x="309" y="91"/>
                  </a:cubicBezTo>
                  <a:cubicBezTo>
                    <a:pt x="309" y="65"/>
                    <a:pt x="289" y="44"/>
                    <a:pt x="263" y="43"/>
                  </a:cubicBezTo>
                  <a:cubicBezTo>
                    <a:pt x="257" y="24"/>
                    <a:pt x="239" y="11"/>
                    <a:pt x="218" y="11"/>
                  </a:cubicBezTo>
                  <a:cubicBezTo>
                    <a:pt x="212" y="11"/>
                    <a:pt x="205" y="12"/>
                    <a:pt x="199" y="15"/>
                  </a:cubicBezTo>
                  <a:cubicBezTo>
                    <a:pt x="190" y="5"/>
                    <a:pt x="178" y="0"/>
                    <a:pt x="165" y="0"/>
                  </a:cubicBezTo>
                  <a:cubicBezTo>
                    <a:pt x="153" y="0"/>
                    <a:pt x="142" y="4"/>
                    <a:pt x="133" y="12"/>
                  </a:cubicBezTo>
                  <a:cubicBezTo>
                    <a:pt x="119" y="8"/>
                    <a:pt x="102" y="12"/>
                    <a:pt x="91" y="23"/>
                  </a:cubicBezTo>
                  <a:cubicBezTo>
                    <a:pt x="87" y="22"/>
                    <a:pt x="83" y="21"/>
                    <a:pt x="80" y="21"/>
                  </a:cubicBezTo>
                  <a:cubicBezTo>
                    <a:pt x="53" y="21"/>
                    <a:pt x="32" y="43"/>
                    <a:pt x="32" y="69"/>
                  </a:cubicBezTo>
                  <a:cubicBezTo>
                    <a:pt x="32" y="70"/>
                    <a:pt x="32" y="71"/>
                    <a:pt x="32" y="73"/>
                  </a:cubicBezTo>
                  <a:cubicBezTo>
                    <a:pt x="12" y="84"/>
                    <a:pt x="0" y="105"/>
                    <a:pt x="0" y="128"/>
                  </a:cubicBezTo>
                  <a:cubicBezTo>
                    <a:pt x="0" y="163"/>
                    <a:pt x="28" y="192"/>
                    <a:pt x="64" y="192"/>
                  </a:cubicBezTo>
                  <a:cubicBezTo>
                    <a:pt x="72" y="192"/>
                    <a:pt x="80" y="190"/>
                    <a:pt x="87" y="187"/>
                  </a:cubicBezTo>
                  <a:cubicBezTo>
                    <a:pt x="96" y="197"/>
                    <a:pt x="109" y="203"/>
                    <a:pt x="122" y="203"/>
                  </a:cubicBezTo>
                  <a:cubicBezTo>
                    <a:pt x="132" y="203"/>
                    <a:pt x="141" y="200"/>
                    <a:pt x="149" y="195"/>
                  </a:cubicBezTo>
                  <a:cubicBezTo>
                    <a:pt x="154" y="202"/>
                    <a:pt x="162" y="207"/>
                    <a:pt x="170" y="211"/>
                  </a:cubicBezTo>
                  <a:cubicBezTo>
                    <a:pt x="170" y="267"/>
                    <a:pt x="170" y="267"/>
                    <a:pt x="170" y="267"/>
                  </a:cubicBezTo>
                  <a:cubicBezTo>
                    <a:pt x="170" y="273"/>
                    <a:pt x="175" y="277"/>
                    <a:pt x="181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51" y="277"/>
                    <a:pt x="256" y="273"/>
                    <a:pt x="256" y="267"/>
                  </a:cubicBezTo>
                  <a:cubicBezTo>
                    <a:pt x="256" y="267"/>
                    <a:pt x="256" y="249"/>
                    <a:pt x="269" y="241"/>
                  </a:cubicBezTo>
                  <a:cubicBezTo>
                    <a:pt x="283" y="232"/>
                    <a:pt x="299" y="219"/>
                    <a:pt x="298" y="197"/>
                  </a:cubicBezTo>
                  <a:cubicBezTo>
                    <a:pt x="298" y="193"/>
                    <a:pt x="298" y="189"/>
                    <a:pt x="297" y="185"/>
                  </a:cubicBezTo>
                  <a:cubicBezTo>
                    <a:pt x="311" y="176"/>
                    <a:pt x="320" y="161"/>
                    <a:pt x="320" y="144"/>
                  </a:cubicBezTo>
                  <a:close/>
                  <a:moveTo>
                    <a:pt x="280" y="169"/>
                  </a:moveTo>
                  <a:cubicBezTo>
                    <a:pt x="277" y="170"/>
                    <a:pt x="274" y="173"/>
                    <a:pt x="273" y="175"/>
                  </a:cubicBezTo>
                  <a:cubicBezTo>
                    <a:pt x="272" y="178"/>
                    <a:pt x="272" y="182"/>
                    <a:pt x="274" y="185"/>
                  </a:cubicBezTo>
                  <a:cubicBezTo>
                    <a:pt x="276" y="189"/>
                    <a:pt x="277" y="193"/>
                    <a:pt x="277" y="198"/>
                  </a:cubicBezTo>
                  <a:cubicBezTo>
                    <a:pt x="277" y="205"/>
                    <a:pt x="274" y="213"/>
                    <a:pt x="257" y="223"/>
                  </a:cubicBezTo>
                  <a:cubicBezTo>
                    <a:pt x="243" y="232"/>
                    <a:pt x="238" y="246"/>
                    <a:pt x="236" y="256"/>
                  </a:cubicBezTo>
                  <a:cubicBezTo>
                    <a:pt x="192" y="256"/>
                    <a:pt x="192" y="256"/>
                    <a:pt x="192" y="256"/>
                  </a:cubicBezTo>
                  <a:cubicBezTo>
                    <a:pt x="192" y="202"/>
                    <a:pt x="192" y="202"/>
                    <a:pt x="192" y="202"/>
                  </a:cubicBezTo>
                  <a:cubicBezTo>
                    <a:pt x="192" y="197"/>
                    <a:pt x="188" y="192"/>
                    <a:pt x="183" y="192"/>
                  </a:cubicBezTo>
                  <a:cubicBezTo>
                    <a:pt x="173" y="190"/>
                    <a:pt x="165" y="184"/>
                    <a:pt x="161" y="174"/>
                  </a:cubicBezTo>
                  <a:cubicBezTo>
                    <a:pt x="160" y="171"/>
                    <a:pt x="157" y="168"/>
                    <a:pt x="153" y="167"/>
                  </a:cubicBezTo>
                  <a:cubicBezTo>
                    <a:pt x="149" y="167"/>
                    <a:pt x="145" y="168"/>
                    <a:pt x="143" y="171"/>
                  </a:cubicBezTo>
                  <a:cubicBezTo>
                    <a:pt x="138" y="178"/>
                    <a:pt x="130" y="181"/>
                    <a:pt x="122" y="181"/>
                  </a:cubicBezTo>
                  <a:cubicBezTo>
                    <a:pt x="113" y="181"/>
                    <a:pt x="105" y="176"/>
                    <a:pt x="100" y="168"/>
                  </a:cubicBezTo>
                  <a:cubicBezTo>
                    <a:pt x="97" y="163"/>
                    <a:pt x="90" y="162"/>
                    <a:pt x="85" y="165"/>
                  </a:cubicBezTo>
                  <a:cubicBezTo>
                    <a:pt x="78" y="169"/>
                    <a:pt x="71" y="171"/>
                    <a:pt x="64" y="171"/>
                  </a:cubicBezTo>
                  <a:cubicBezTo>
                    <a:pt x="40" y="171"/>
                    <a:pt x="21" y="152"/>
                    <a:pt x="21" y="128"/>
                  </a:cubicBezTo>
                  <a:cubicBezTo>
                    <a:pt x="21" y="111"/>
                    <a:pt x="31" y="95"/>
                    <a:pt x="48" y="89"/>
                  </a:cubicBezTo>
                  <a:cubicBezTo>
                    <a:pt x="53" y="86"/>
                    <a:pt x="55" y="81"/>
                    <a:pt x="54" y="76"/>
                  </a:cubicBezTo>
                  <a:cubicBezTo>
                    <a:pt x="53" y="73"/>
                    <a:pt x="53" y="71"/>
                    <a:pt x="53" y="69"/>
                  </a:cubicBezTo>
                  <a:cubicBezTo>
                    <a:pt x="53" y="55"/>
                    <a:pt x="65" y="43"/>
                    <a:pt x="80" y="43"/>
                  </a:cubicBezTo>
                  <a:cubicBezTo>
                    <a:pt x="83" y="43"/>
                    <a:pt x="87" y="43"/>
                    <a:pt x="90" y="45"/>
                  </a:cubicBezTo>
                  <a:cubicBezTo>
                    <a:pt x="94" y="46"/>
                    <a:pt x="99" y="45"/>
                    <a:pt x="102" y="42"/>
                  </a:cubicBezTo>
                  <a:cubicBezTo>
                    <a:pt x="109" y="33"/>
                    <a:pt x="122" y="30"/>
                    <a:pt x="132" y="34"/>
                  </a:cubicBezTo>
                  <a:cubicBezTo>
                    <a:pt x="137" y="36"/>
                    <a:pt x="142" y="35"/>
                    <a:pt x="145" y="31"/>
                  </a:cubicBezTo>
                  <a:cubicBezTo>
                    <a:pt x="150" y="25"/>
                    <a:pt x="157" y="21"/>
                    <a:pt x="165" y="21"/>
                  </a:cubicBezTo>
                  <a:cubicBezTo>
                    <a:pt x="174" y="21"/>
                    <a:pt x="183" y="26"/>
                    <a:pt x="188" y="34"/>
                  </a:cubicBezTo>
                  <a:cubicBezTo>
                    <a:pt x="189" y="37"/>
                    <a:pt x="192" y="38"/>
                    <a:pt x="195" y="39"/>
                  </a:cubicBezTo>
                  <a:cubicBezTo>
                    <a:pt x="197" y="39"/>
                    <a:pt x="200" y="39"/>
                    <a:pt x="203" y="37"/>
                  </a:cubicBezTo>
                  <a:cubicBezTo>
                    <a:pt x="207" y="34"/>
                    <a:pt x="213" y="32"/>
                    <a:pt x="218" y="32"/>
                  </a:cubicBezTo>
                  <a:cubicBezTo>
                    <a:pt x="232" y="32"/>
                    <a:pt x="243" y="42"/>
                    <a:pt x="245" y="55"/>
                  </a:cubicBezTo>
                  <a:cubicBezTo>
                    <a:pt x="245" y="58"/>
                    <a:pt x="246" y="61"/>
                    <a:pt x="249" y="62"/>
                  </a:cubicBezTo>
                  <a:cubicBezTo>
                    <a:pt x="251" y="64"/>
                    <a:pt x="254" y="65"/>
                    <a:pt x="257" y="64"/>
                  </a:cubicBezTo>
                  <a:cubicBezTo>
                    <a:pt x="258" y="64"/>
                    <a:pt x="260" y="64"/>
                    <a:pt x="261" y="64"/>
                  </a:cubicBezTo>
                  <a:cubicBezTo>
                    <a:pt x="276" y="64"/>
                    <a:pt x="288" y="76"/>
                    <a:pt x="288" y="91"/>
                  </a:cubicBezTo>
                  <a:cubicBezTo>
                    <a:pt x="288" y="96"/>
                    <a:pt x="286" y="102"/>
                    <a:pt x="283" y="106"/>
                  </a:cubicBezTo>
                  <a:cubicBezTo>
                    <a:pt x="281" y="109"/>
                    <a:pt x="280" y="112"/>
                    <a:pt x="281" y="114"/>
                  </a:cubicBezTo>
                  <a:cubicBezTo>
                    <a:pt x="281" y="117"/>
                    <a:pt x="283" y="120"/>
                    <a:pt x="286" y="121"/>
                  </a:cubicBezTo>
                  <a:cubicBezTo>
                    <a:pt x="294" y="126"/>
                    <a:pt x="298" y="135"/>
                    <a:pt x="298" y="144"/>
                  </a:cubicBezTo>
                  <a:cubicBezTo>
                    <a:pt x="298" y="156"/>
                    <a:pt x="291" y="166"/>
                    <a:pt x="280" y="169"/>
                  </a:cubicBezTo>
                  <a:close/>
                  <a:moveTo>
                    <a:pt x="94" y="70"/>
                  </a:moveTo>
                  <a:cubicBezTo>
                    <a:pt x="103" y="86"/>
                    <a:pt x="106" y="113"/>
                    <a:pt x="106" y="116"/>
                  </a:cubicBezTo>
                  <a:cubicBezTo>
                    <a:pt x="107" y="121"/>
                    <a:pt x="104" y="125"/>
                    <a:pt x="100" y="127"/>
                  </a:cubicBezTo>
                  <a:cubicBezTo>
                    <a:pt x="97" y="129"/>
                    <a:pt x="92" y="128"/>
                    <a:pt x="89" y="125"/>
                  </a:cubicBezTo>
                  <a:cubicBezTo>
                    <a:pt x="86" y="123"/>
                    <a:pt x="72" y="128"/>
                    <a:pt x="59" y="137"/>
                  </a:cubicBezTo>
                  <a:cubicBezTo>
                    <a:pt x="57" y="138"/>
                    <a:pt x="55" y="139"/>
                    <a:pt x="53" y="139"/>
                  </a:cubicBezTo>
                  <a:cubicBezTo>
                    <a:pt x="50" y="139"/>
                    <a:pt x="46" y="137"/>
                    <a:pt x="44" y="134"/>
                  </a:cubicBezTo>
                  <a:cubicBezTo>
                    <a:pt x="41" y="130"/>
                    <a:pt x="42" y="123"/>
                    <a:pt x="47" y="119"/>
                  </a:cubicBezTo>
                  <a:cubicBezTo>
                    <a:pt x="51" y="116"/>
                    <a:pt x="67" y="105"/>
                    <a:pt x="83" y="104"/>
                  </a:cubicBezTo>
                  <a:cubicBezTo>
                    <a:pt x="81" y="95"/>
                    <a:pt x="79" y="86"/>
                    <a:pt x="76" y="80"/>
                  </a:cubicBezTo>
                  <a:cubicBezTo>
                    <a:pt x="73" y="75"/>
                    <a:pt x="75" y="68"/>
                    <a:pt x="80" y="65"/>
                  </a:cubicBezTo>
                  <a:cubicBezTo>
                    <a:pt x="85" y="62"/>
                    <a:pt x="92" y="64"/>
                    <a:pt x="94" y="70"/>
                  </a:cubicBezTo>
                  <a:close/>
                  <a:moveTo>
                    <a:pt x="131" y="93"/>
                  </a:moveTo>
                  <a:cubicBezTo>
                    <a:pt x="127" y="90"/>
                    <a:pt x="126" y="85"/>
                    <a:pt x="127" y="80"/>
                  </a:cubicBezTo>
                  <a:cubicBezTo>
                    <a:pt x="128" y="78"/>
                    <a:pt x="129" y="74"/>
                    <a:pt x="138" y="68"/>
                  </a:cubicBezTo>
                  <a:cubicBezTo>
                    <a:pt x="137" y="65"/>
                    <a:pt x="138" y="61"/>
                    <a:pt x="140" y="59"/>
                  </a:cubicBezTo>
                  <a:cubicBezTo>
                    <a:pt x="143" y="54"/>
                    <a:pt x="149" y="52"/>
                    <a:pt x="154" y="55"/>
                  </a:cubicBezTo>
                  <a:cubicBezTo>
                    <a:pt x="157" y="56"/>
                    <a:pt x="158" y="58"/>
                    <a:pt x="159" y="60"/>
                  </a:cubicBezTo>
                  <a:cubicBezTo>
                    <a:pt x="159" y="60"/>
                    <a:pt x="160" y="60"/>
                    <a:pt x="161" y="60"/>
                  </a:cubicBezTo>
                  <a:cubicBezTo>
                    <a:pt x="166" y="61"/>
                    <a:pt x="170" y="65"/>
                    <a:pt x="170" y="70"/>
                  </a:cubicBezTo>
                  <a:cubicBezTo>
                    <a:pt x="171" y="75"/>
                    <a:pt x="168" y="80"/>
                    <a:pt x="163" y="81"/>
                  </a:cubicBezTo>
                  <a:cubicBezTo>
                    <a:pt x="158" y="83"/>
                    <a:pt x="152" y="85"/>
                    <a:pt x="149" y="87"/>
                  </a:cubicBezTo>
                  <a:cubicBezTo>
                    <a:pt x="149" y="89"/>
                    <a:pt x="148" y="91"/>
                    <a:pt x="146" y="93"/>
                  </a:cubicBezTo>
                  <a:cubicBezTo>
                    <a:pt x="144" y="95"/>
                    <a:pt x="141" y="96"/>
                    <a:pt x="138" y="96"/>
                  </a:cubicBezTo>
                  <a:cubicBezTo>
                    <a:pt x="136" y="96"/>
                    <a:pt x="133" y="95"/>
                    <a:pt x="131" y="93"/>
                  </a:cubicBezTo>
                  <a:close/>
                  <a:moveTo>
                    <a:pt x="190" y="113"/>
                  </a:moveTo>
                  <a:cubicBezTo>
                    <a:pt x="181" y="124"/>
                    <a:pt x="187" y="130"/>
                    <a:pt x="188" y="131"/>
                  </a:cubicBezTo>
                  <a:cubicBezTo>
                    <a:pt x="192" y="134"/>
                    <a:pt x="193" y="140"/>
                    <a:pt x="190" y="144"/>
                  </a:cubicBezTo>
                  <a:cubicBezTo>
                    <a:pt x="188" y="148"/>
                    <a:pt x="185" y="149"/>
                    <a:pt x="181" y="149"/>
                  </a:cubicBezTo>
                  <a:cubicBezTo>
                    <a:pt x="180" y="149"/>
                    <a:pt x="178" y="149"/>
                    <a:pt x="177" y="149"/>
                  </a:cubicBezTo>
                  <a:cubicBezTo>
                    <a:pt x="159" y="141"/>
                    <a:pt x="143" y="148"/>
                    <a:pt x="143" y="148"/>
                  </a:cubicBezTo>
                  <a:cubicBezTo>
                    <a:pt x="137" y="151"/>
                    <a:pt x="131" y="148"/>
                    <a:pt x="129" y="143"/>
                  </a:cubicBezTo>
                  <a:cubicBezTo>
                    <a:pt x="126" y="138"/>
                    <a:pt x="128" y="132"/>
                    <a:pt x="134" y="129"/>
                  </a:cubicBezTo>
                  <a:cubicBezTo>
                    <a:pt x="134" y="129"/>
                    <a:pt x="147" y="123"/>
                    <a:pt x="164" y="124"/>
                  </a:cubicBezTo>
                  <a:cubicBezTo>
                    <a:pt x="164" y="117"/>
                    <a:pt x="166" y="109"/>
                    <a:pt x="172" y="100"/>
                  </a:cubicBezTo>
                  <a:cubicBezTo>
                    <a:pt x="176" y="96"/>
                    <a:pt x="183" y="95"/>
                    <a:pt x="187" y="98"/>
                  </a:cubicBezTo>
                  <a:cubicBezTo>
                    <a:pt x="192" y="102"/>
                    <a:pt x="193" y="108"/>
                    <a:pt x="190" y="113"/>
                  </a:cubicBezTo>
                  <a:close/>
                  <a:moveTo>
                    <a:pt x="213" y="85"/>
                  </a:moveTo>
                  <a:cubicBezTo>
                    <a:pt x="213" y="79"/>
                    <a:pt x="218" y="75"/>
                    <a:pt x="224" y="75"/>
                  </a:cubicBezTo>
                  <a:cubicBezTo>
                    <a:pt x="224" y="75"/>
                    <a:pt x="224" y="75"/>
                    <a:pt x="224" y="75"/>
                  </a:cubicBezTo>
                  <a:cubicBezTo>
                    <a:pt x="229" y="75"/>
                    <a:pt x="240" y="78"/>
                    <a:pt x="254" y="101"/>
                  </a:cubicBezTo>
                  <a:cubicBezTo>
                    <a:pt x="257" y="106"/>
                    <a:pt x="256" y="113"/>
                    <a:pt x="251" y="116"/>
                  </a:cubicBezTo>
                  <a:cubicBezTo>
                    <a:pt x="249" y="117"/>
                    <a:pt x="247" y="117"/>
                    <a:pt x="245" y="117"/>
                  </a:cubicBezTo>
                  <a:cubicBezTo>
                    <a:pt x="241" y="117"/>
                    <a:pt x="238" y="116"/>
                    <a:pt x="236" y="112"/>
                  </a:cubicBezTo>
                  <a:cubicBezTo>
                    <a:pt x="228" y="100"/>
                    <a:pt x="223" y="96"/>
                    <a:pt x="222" y="96"/>
                  </a:cubicBezTo>
                  <a:cubicBezTo>
                    <a:pt x="217" y="95"/>
                    <a:pt x="213" y="91"/>
                    <a:pt x="213" y="85"/>
                  </a:cubicBezTo>
                  <a:close/>
                  <a:moveTo>
                    <a:pt x="277" y="139"/>
                  </a:moveTo>
                  <a:cubicBezTo>
                    <a:pt x="277" y="145"/>
                    <a:pt x="272" y="149"/>
                    <a:pt x="266" y="149"/>
                  </a:cubicBezTo>
                  <a:cubicBezTo>
                    <a:pt x="250" y="149"/>
                    <a:pt x="245" y="162"/>
                    <a:pt x="244" y="163"/>
                  </a:cubicBezTo>
                  <a:cubicBezTo>
                    <a:pt x="244" y="163"/>
                    <a:pt x="244" y="164"/>
                    <a:pt x="244" y="164"/>
                  </a:cubicBezTo>
                  <a:cubicBezTo>
                    <a:pt x="244" y="164"/>
                    <a:pt x="244" y="164"/>
                    <a:pt x="244" y="164"/>
                  </a:cubicBezTo>
                  <a:cubicBezTo>
                    <a:pt x="244" y="165"/>
                    <a:pt x="239" y="177"/>
                    <a:pt x="233" y="187"/>
                  </a:cubicBezTo>
                  <a:cubicBezTo>
                    <a:pt x="233" y="189"/>
                    <a:pt x="236" y="192"/>
                    <a:pt x="239" y="193"/>
                  </a:cubicBezTo>
                  <a:cubicBezTo>
                    <a:pt x="244" y="196"/>
                    <a:pt x="246" y="202"/>
                    <a:pt x="244" y="207"/>
                  </a:cubicBezTo>
                  <a:cubicBezTo>
                    <a:pt x="242" y="211"/>
                    <a:pt x="238" y="213"/>
                    <a:pt x="234" y="213"/>
                  </a:cubicBezTo>
                  <a:cubicBezTo>
                    <a:pt x="233" y="213"/>
                    <a:pt x="231" y="213"/>
                    <a:pt x="230" y="212"/>
                  </a:cubicBezTo>
                  <a:cubicBezTo>
                    <a:pt x="227" y="211"/>
                    <a:pt x="215" y="205"/>
                    <a:pt x="212" y="194"/>
                  </a:cubicBezTo>
                  <a:cubicBezTo>
                    <a:pt x="210" y="188"/>
                    <a:pt x="211" y="181"/>
                    <a:pt x="215" y="176"/>
                  </a:cubicBezTo>
                  <a:cubicBezTo>
                    <a:pt x="219" y="169"/>
                    <a:pt x="223" y="160"/>
                    <a:pt x="224" y="157"/>
                  </a:cubicBezTo>
                  <a:cubicBezTo>
                    <a:pt x="224" y="155"/>
                    <a:pt x="221" y="150"/>
                    <a:pt x="217" y="147"/>
                  </a:cubicBezTo>
                  <a:cubicBezTo>
                    <a:pt x="212" y="144"/>
                    <a:pt x="212" y="137"/>
                    <a:pt x="215" y="132"/>
                  </a:cubicBezTo>
                  <a:cubicBezTo>
                    <a:pt x="219" y="127"/>
                    <a:pt x="225" y="127"/>
                    <a:pt x="230" y="130"/>
                  </a:cubicBezTo>
                  <a:cubicBezTo>
                    <a:pt x="231" y="131"/>
                    <a:pt x="234" y="133"/>
                    <a:pt x="238" y="138"/>
                  </a:cubicBezTo>
                  <a:cubicBezTo>
                    <a:pt x="245" y="132"/>
                    <a:pt x="254" y="128"/>
                    <a:pt x="267" y="128"/>
                  </a:cubicBezTo>
                  <a:cubicBezTo>
                    <a:pt x="273" y="128"/>
                    <a:pt x="277" y="133"/>
                    <a:pt x="277" y="1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GB" kern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61" name="Group 567">
            <a:extLst>
              <a:ext uri="{FF2B5EF4-FFF2-40B4-BE49-F238E27FC236}">
                <a16:creationId xmlns:a16="http://schemas.microsoft.com/office/drawing/2014/main" id="{E90FD03F-7FC1-44FB-8E16-B6A9286DAEB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15092" y="2087626"/>
            <a:ext cx="370107" cy="369021"/>
            <a:chOff x="410" y="1934"/>
            <a:chExt cx="341" cy="340"/>
          </a:xfrm>
          <a:solidFill>
            <a:srgbClr val="75787B"/>
          </a:solidFill>
        </p:grpSpPr>
        <p:sp>
          <p:nvSpPr>
            <p:cNvPr id="62" name="Freeform 568">
              <a:extLst>
                <a:ext uri="{FF2B5EF4-FFF2-40B4-BE49-F238E27FC236}">
                  <a16:creationId xmlns:a16="http://schemas.microsoft.com/office/drawing/2014/main" id="{F8F45F46-9EAE-4C05-92C3-80AD4F59E3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" y="1998"/>
              <a:ext cx="213" cy="212"/>
            </a:xfrm>
            <a:custGeom>
              <a:avLst/>
              <a:gdLst>
                <a:gd name="T0" fmla="*/ 309 w 320"/>
                <a:gd name="T1" fmla="*/ 85 h 320"/>
                <a:gd name="T2" fmla="*/ 256 w 320"/>
                <a:gd name="T3" fmla="*/ 85 h 320"/>
                <a:gd name="T4" fmla="*/ 256 w 320"/>
                <a:gd name="T5" fmla="*/ 10 h 320"/>
                <a:gd name="T6" fmla="*/ 245 w 320"/>
                <a:gd name="T7" fmla="*/ 0 h 320"/>
                <a:gd name="T8" fmla="*/ 74 w 320"/>
                <a:gd name="T9" fmla="*/ 0 h 320"/>
                <a:gd name="T10" fmla="*/ 64 w 320"/>
                <a:gd name="T11" fmla="*/ 10 h 320"/>
                <a:gd name="T12" fmla="*/ 64 w 320"/>
                <a:gd name="T13" fmla="*/ 85 h 320"/>
                <a:gd name="T14" fmla="*/ 10 w 320"/>
                <a:gd name="T15" fmla="*/ 85 h 320"/>
                <a:gd name="T16" fmla="*/ 0 w 320"/>
                <a:gd name="T17" fmla="*/ 96 h 320"/>
                <a:gd name="T18" fmla="*/ 0 w 320"/>
                <a:gd name="T19" fmla="*/ 266 h 320"/>
                <a:gd name="T20" fmla="*/ 10 w 320"/>
                <a:gd name="T21" fmla="*/ 277 h 320"/>
                <a:gd name="T22" fmla="*/ 64 w 320"/>
                <a:gd name="T23" fmla="*/ 277 h 320"/>
                <a:gd name="T24" fmla="*/ 64 w 320"/>
                <a:gd name="T25" fmla="*/ 309 h 320"/>
                <a:gd name="T26" fmla="*/ 74 w 320"/>
                <a:gd name="T27" fmla="*/ 320 h 320"/>
                <a:gd name="T28" fmla="*/ 245 w 320"/>
                <a:gd name="T29" fmla="*/ 320 h 320"/>
                <a:gd name="T30" fmla="*/ 256 w 320"/>
                <a:gd name="T31" fmla="*/ 309 h 320"/>
                <a:gd name="T32" fmla="*/ 256 w 320"/>
                <a:gd name="T33" fmla="*/ 277 h 320"/>
                <a:gd name="T34" fmla="*/ 309 w 320"/>
                <a:gd name="T35" fmla="*/ 277 h 320"/>
                <a:gd name="T36" fmla="*/ 320 w 320"/>
                <a:gd name="T37" fmla="*/ 266 h 320"/>
                <a:gd name="T38" fmla="*/ 320 w 320"/>
                <a:gd name="T39" fmla="*/ 96 h 320"/>
                <a:gd name="T40" fmla="*/ 309 w 320"/>
                <a:gd name="T41" fmla="*/ 85 h 320"/>
                <a:gd name="T42" fmla="*/ 85 w 320"/>
                <a:gd name="T43" fmla="*/ 21 h 320"/>
                <a:gd name="T44" fmla="*/ 234 w 320"/>
                <a:gd name="T45" fmla="*/ 21 h 320"/>
                <a:gd name="T46" fmla="*/ 234 w 320"/>
                <a:gd name="T47" fmla="*/ 85 h 320"/>
                <a:gd name="T48" fmla="*/ 85 w 320"/>
                <a:gd name="T49" fmla="*/ 85 h 320"/>
                <a:gd name="T50" fmla="*/ 85 w 320"/>
                <a:gd name="T51" fmla="*/ 21 h 320"/>
                <a:gd name="T52" fmla="*/ 234 w 320"/>
                <a:gd name="T53" fmla="*/ 298 h 320"/>
                <a:gd name="T54" fmla="*/ 85 w 320"/>
                <a:gd name="T55" fmla="*/ 298 h 320"/>
                <a:gd name="T56" fmla="*/ 85 w 320"/>
                <a:gd name="T57" fmla="*/ 213 h 320"/>
                <a:gd name="T58" fmla="*/ 234 w 320"/>
                <a:gd name="T59" fmla="*/ 213 h 320"/>
                <a:gd name="T60" fmla="*/ 234 w 320"/>
                <a:gd name="T61" fmla="*/ 298 h 320"/>
                <a:gd name="T62" fmla="*/ 298 w 320"/>
                <a:gd name="T63" fmla="*/ 256 h 320"/>
                <a:gd name="T64" fmla="*/ 256 w 320"/>
                <a:gd name="T65" fmla="*/ 256 h 320"/>
                <a:gd name="T66" fmla="*/ 256 w 320"/>
                <a:gd name="T67" fmla="*/ 202 h 320"/>
                <a:gd name="T68" fmla="*/ 245 w 320"/>
                <a:gd name="T69" fmla="*/ 192 h 320"/>
                <a:gd name="T70" fmla="*/ 74 w 320"/>
                <a:gd name="T71" fmla="*/ 192 h 320"/>
                <a:gd name="T72" fmla="*/ 64 w 320"/>
                <a:gd name="T73" fmla="*/ 202 h 320"/>
                <a:gd name="T74" fmla="*/ 64 w 320"/>
                <a:gd name="T75" fmla="*/ 256 h 320"/>
                <a:gd name="T76" fmla="*/ 21 w 320"/>
                <a:gd name="T77" fmla="*/ 256 h 320"/>
                <a:gd name="T78" fmla="*/ 21 w 320"/>
                <a:gd name="T79" fmla="*/ 106 h 320"/>
                <a:gd name="T80" fmla="*/ 298 w 320"/>
                <a:gd name="T81" fmla="*/ 106 h 320"/>
                <a:gd name="T82" fmla="*/ 298 w 320"/>
                <a:gd name="T83" fmla="*/ 25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20" h="320">
                  <a:moveTo>
                    <a:pt x="309" y="85"/>
                  </a:moveTo>
                  <a:cubicBezTo>
                    <a:pt x="256" y="85"/>
                    <a:pt x="256" y="85"/>
                    <a:pt x="256" y="85"/>
                  </a:cubicBezTo>
                  <a:cubicBezTo>
                    <a:pt x="256" y="10"/>
                    <a:pt x="256" y="10"/>
                    <a:pt x="256" y="10"/>
                  </a:cubicBezTo>
                  <a:cubicBezTo>
                    <a:pt x="256" y="4"/>
                    <a:pt x="251" y="0"/>
                    <a:pt x="245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8" y="0"/>
                    <a:pt x="64" y="4"/>
                    <a:pt x="64" y="10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4" y="85"/>
                    <a:pt x="0" y="90"/>
                    <a:pt x="0" y="96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0" y="272"/>
                    <a:pt x="4" y="277"/>
                    <a:pt x="10" y="277"/>
                  </a:cubicBezTo>
                  <a:cubicBezTo>
                    <a:pt x="64" y="277"/>
                    <a:pt x="64" y="277"/>
                    <a:pt x="64" y="277"/>
                  </a:cubicBezTo>
                  <a:cubicBezTo>
                    <a:pt x="64" y="309"/>
                    <a:pt x="64" y="309"/>
                    <a:pt x="64" y="309"/>
                  </a:cubicBezTo>
                  <a:cubicBezTo>
                    <a:pt x="64" y="315"/>
                    <a:pt x="68" y="320"/>
                    <a:pt x="74" y="320"/>
                  </a:cubicBezTo>
                  <a:cubicBezTo>
                    <a:pt x="245" y="320"/>
                    <a:pt x="245" y="320"/>
                    <a:pt x="245" y="320"/>
                  </a:cubicBezTo>
                  <a:cubicBezTo>
                    <a:pt x="251" y="320"/>
                    <a:pt x="256" y="315"/>
                    <a:pt x="256" y="309"/>
                  </a:cubicBezTo>
                  <a:cubicBezTo>
                    <a:pt x="256" y="277"/>
                    <a:pt x="256" y="277"/>
                    <a:pt x="256" y="277"/>
                  </a:cubicBezTo>
                  <a:cubicBezTo>
                    <a:pt x="309" y="277"/>
                    <a:pt x="309" y="277"/>
                    <a:pt x="309" y="277"/>
                  </a:cubicBezTo>
                  <a:cubicBezTo>
                    <a:pt x="315" y="277"/>
                    <a:pt x="320" y="272"/>
                    <a:pt x="320" y="266"/>
                  </a:cubicBezTo>
                  <a:cubicBezTo>
                    <a:pt x="320" y="96"/>
                    <a:pt x="320" y="96"/>
                    <a:pt x="320" y="96"/>
                  </a:cubicBezTo>
                  <a:cubicBezTo>
                    <a:pt x="320" y="90"/>
                    <a:pt x="315" y="85"/>
                    <a:pt x="309" y="85"/>
                  </a:cubicBezTo>
                  <a:close/>
                  <a:moveTo>
                    <a:pt x="85" y="21"/>
                  </a:moveTo>
                  <a:cubicBezTo>
                    <a:pt x="234" y="21"/>
                    <a:pt x="234" y="21"/>
                    <a:pt x="234" y="21"/>
                  </a:cubicBezTo>
                  <a:cubicBezTo>
                    <a:pt x="234" y="85"/>
                    <a:pt x="234" y="85"/>
                    <a:pt x="234" y="85"/>
                  </a:cubicBezTo>
                  <a:cubicBezTo>
                    <a:pt x="85" y="85"/>
                    <a:pt x="85" y="85"/>
                    <a:pt x="85" y="85"/>
                  </a:cubicBezTo>
                  <a:lnTo>
                    <a:pt x="85" y="21"/>
                  </a:lnTo>
                  <a:close/>
                  <a:moveTo>
                    <a:pt x="234" y="298"/>
                  </a:moveTo>
                  <a:cubicBezTo>
                    <a:pt x="85" y="298"/>
                    <a:pt x="85" y="298"/>
                    <a:pt x="85" y="298"/>
                  </a:cubicBezTo>
                  <a:cubicBezTo>
                    <a:pt x="85" y="213"/>
                    <a:pt x="85" y="213"/>
                    <a:pt x="85" y="213"/>
                  </a:cubicBezTo>
                  <a:cubicBezTo>
                    <a:pt x="234" y="213"/>
                    <a:pt x="234" y="213"/>
                    <a:pt x="234" y="213"/>
                  </a:cubicBezTo>
                  <a:lnTo>
                    <a:pt x="234" y="298"/>
                  </a:lnTo>
                  <a:close/>
                  <a:moveTo>
                    <a:pt x="298" y="256"/>
                  </a:moveTo>
                  <a:cubicBezTo>
                    <a:pt x="256" y="256"/>
                    <a:pt x="256" y="256"/>
                    <a:pt x="256" y="256"/>
                  </a:cubicBezTo>
                  <a:cubicBezTo>
                    <a:pt x="256" y="202"/>
                    <a:pt x="256" y="202"/>
                    <a:pt x="256" y="202"/>
                  </a:cubicBezTo>
                  <a:cubicBezTo>
                    <a:pt x="256" y="196"/>
                    <a:pt x="251" y="192"/>
                    <a:pt x="245" y="192"/>
                  </a:cubicBezTo>
                  <a:cubicBezTo>
                    <a:pt x="74" y="192"/>
                    <a:pt x="74" y="192"/>
                    <a:pt x="74" y="192"/>
                  </a:cubicBezTo>
                  <a:cubicBezTo>
                    <a:pt x="68" y="192"/>
                    <a:pt x="64" y="196"/>
                    <a:pt x="64" y="202"/>
                  </a:cubicBezTo>
                  <a:cubicBezTo>
                    <a:pt x="64" y="256"/>
                    <a:pt x="64" y="256"/>
                    <a:pt x="64" y="256"/>
                  </a:cubicBezTo>
                  <a:cubicBezTo>
                    <a:pt x="21" y="256"/>
                    <a:pt x="21" y="256"/>
                    <a:pt x="21" y="256"/>
                  </a:cubicBezTo>
                  <a:cubicBezTo>
                    <a:pt x="21" y="106"/>
                    <a:pt x="21" y="106"/>
                    <a:pt x="21" y="106"/>
                  </a:cubicBezTo>
                  <a:cubicBezTo>
                    <a:pt x="298" y="106"/>
                    <a:pt x="298" y="106"/>
                    <a:pt x="298" y="106"/>
                  </a:cubicBezTo>
                  <a:lnTo>
                    <a:pt x="29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GB" kern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3" name="Freeform 569">
              <a:extLst>
                <a:ext uri="{FF2B5EF4-FFF2-40B4-BE49-F238E27FC236}">
                  <a16:creationId xmlns:a16="http://schemas.microsoft.com/office/drawing/2014/main" id="{0BBFA661-3D95-4072-9BBA-C5E21A73CDE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" y="2083"/>
              <a:ext cx="28" cy="14"/>
            </a:xfrm>
            <a:custGeom>
              <a:avLst/>
              <a:gdLst>
                <a:gd name="T0" fmla="*/ 0 w 43"/>
                <a:gd name="T1" fmla="*/ 10 h 21"/>
                <a:gd name="T2" fmla="*/ 11 w 43"/>
                <a:gd name="T3" fmla="*/ 21 h 21"/>
                <a:gd name="T4" fmla="*/ 32 w 43"/>
                <a:gd name="T5" fmla="*/ 21 h 21"/>
                <a:gd name="T6" fmla="*/ 43 w 43"/>
                <a:gd name="T7" fmla="*/ 10 h 21"/>
                <a:gd name="T8" fmla="*/ 32 w 43"/>
                <a:gd name="T9" fmla="*/ 0 h 21"/>
                <a:gd name="T10" fmla="*/ 11 w 43"/>
                <a:gd name="T11" fmla="*/ 0 h 21"/>
                <a:gd name="T12" fmla="*/ 0 w 43"/>
                <a:gd name="T13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0" y="10"/>
                  </a:moveTo>
                  <a:cubicBezTo>
                    <a:pt x="0" y="16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6"/>
                    <a:pt x="43" y="10"/>
                  </a:cubicBezTo>
                  <a:cubicBezTo>
                    <a:pt x="43" y="4"/>
                    <a:pt x="38" y="0"/>
                    <a:pt x="3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GB" kern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4" name="Freeform 570">
              <a:extLst>
                <a:ext uri="{FF2B5EF4-FFF2-40B4-BE49-F238E27FC236}">
                  <a16:creationId xmlns:a16="http://schemas.microsoft.com/office/drawing/2014/main" id="{A1799ADC-A087-4AD4-A4A4-657EFDAA2C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0" y="1934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GB" kern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65" name="Group 1012">
            <a:extLst>
              <a:ext uri="{FF2B5EF4-FFF2-40B4-BE49-F238E27FC236}">
                <a16:creationId xmlns:a16="http://schemas.microsoft.com/office/drawing/2014/main" id="{7B6A05E7-C219-4023-A113-72ADDBC73B9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15636" y="1456904"/>
            <a:ext cx="369021" cy="369021"/>
            <a:chOff x="1878" y="3998"/>
            <a:chExt cx="340" cy="340"/>
          </a:xfrm>
          <a:solidFill>
            <a:srgbClr val="75787B"/>
          </a:solidFill>
        </p:grpSpPr>
        <p:sp>
          <p:nvSpPr>
            <p:cNvPr id="66" name="Freeform 1013">
              <a:extLst>
                <a:ext uri="{FF2B5EF4-FFF2-40B4-BE49-F238E27FC236}">
                  <a16:creationId xmlns:a16="http://schemas.microsoft.com/office/drawing/2014/main" id="{FC63FE6B-E18E-404E-9FD3-F2738D7A11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55" y="4068"/>
              <a:ext cx="186" cy="192"/>
            </a:xfrm>
            <a:custGeom>
              <a:avLst/>
              <a:gdLst>
                <a:gd name="T0" fmla="*/ 212 w 280"/>
                <a:gd name="T1" fmla="*/ 0 h 288"/>
                <a:gd name="T2" fmla="*/ 178 w 280"/>
                <a:gd name="T3" fmla="*/ 14 h 288"/>
                <a:gd name="T4" fmla="*/ 162 w 280"/>
                <a:gd name="T5" fmla="*/ 101 h 288"/>
                <a:gd name="T6" fmla="*/ 188 w 280"/>
                <a:gd name="T7" fmla="*/ 178 h 288"/>
                <a:gd name="T8" fmla="*/ 261 w 280"/>
                <a:gd name="T9" fmla="*/ 196 h 288"/>
                <a:gd name="T10" fmla="*/ 271 w 280"/>
                <a:gd name="T11" fmla="*/ 189 h 288"/>
                <a:gd name="T12" fmla="*/ 280 w 280"/>
                <a:gd name="T13" fmla="*/ 83 h 288"/>
                <a:gd name="T14" fmla="*/ 196 w 280"/>
                <a:gd name="T15" fmla="*/ 157 h 288"/>
                <a:gd name="T16" fmla="*/ 194 w 280"/>
                <a:gd name="T17" fmla="*/ 29 h 288"/>
                <a:gd name="T18" fmla="*/ 212 w 280"/>
                <a:gd name="T19" fmla="*/ 22 h 288"/>
                <a:gd name="T20" fmla="*/ 253 w 280"/>
                <a:gd name="T21" fmla="*/ 171 h 288"/>
                <a:gd name="T22" fmla="*/ 177 w 280"/>
                <a:gd name="T23" fmla="*/ 208 h 288"/>
                <a:gd name="T24" fmla="*/ 209 w 280"/>
                <a:gd name="T25" fmla="*/ 288 h 288"/>
                <a:gd name="T26" fmla="*/ 241 w 280"/>
                <a:gd name="T27" fmla="*/ 280 h 288"/>
                <a:gd name="T28" fmla="*/ 260 w 280"/>
                <a:gd name="T29" fmla="*/ 231 h 288"/>
                <a:gd name="T30" fmla="*/ 188 w 280"/>
                <a:gd name="T31" fmla="*/ 199 h 288"/>
                <a:gd name="T32" fmla="*/ 228 w 280"/>
                <a:gd name="T33" fmla="*/ 263 h 288"/>
                <a:gd name="T34" fmla="*/ 194 w 280"/>
                <a:gd name="T35" fmla="*/ 243 h 288"/>
                <a:gd name="T36" fmla="*/ 238 w 280"/>
                <a:gd name="T37" fmla="*/ 232 h 288"/>
                <a:gd name="T38" fmla="*/ 69 w 280"/>
                <a:gd name="T39" fmla="*/ 0 h 288"/>
                <a:gd name="T40" fmla="*/ 0 w 280"/>
                <a:gd name="T41" fmla="*/ 83 h 288"/>
                <a:gd name="T42" fmla="*/ 9 w 280"/>
                <a:gd name="T43" fmla="*/ 188 h 288"/>
                <a:gd name="T44" fmla="*/ 20 w 280"/>
                <a:gd name="T45" fmla="*/ 196 h 288"/>
                <a:gd name="T46" fmla="*/ 92 w 280"/>
                <a:gd name="T47" fmla="*/ 178 h 288"/>
                <a:gd name="T48" fmla="*/ 119 w 280"/>
                <a:gd name="T49" fmla="*/ 101 h 288"/>
                <a:gd name="T50" fmla="*/ 102 w 280"/>
                <a:gd name="T51" fmla="*/ 14 h 288"/>
                <a:gd name="T52" fmla="*/ 98 w 280"/>
                <a:gd name="T53" fmla="*/ 96 h 288"/>
                <a:gd name="T54" fmla="*/ 28 w 280"/>
                <a:gd name="T55" fmla="*/ 171 h 288"/>
                <a:gd name="T56" fmla="*/ 69 w 280"/>
                <a:gd name="T57" fmla="*/ 22 h 288"/>
                <a:gd name="T58" fmla="*/ 86 w 280"/>
                <a:gd name="T59" fmla="*/ 29 h 288"/>
                <a:gd name="T60" fmla="*/ 103 w 280"/>
                <a:gd name="T61" fmla="*/ 208 h 288"/>
                <a:gd name="T62" fmla="*/ 22 w 280"/>
                <a:gd name="T63" fmla="*/ 223 h 288"/>
                <a:gd name="T64" fmla="*/ 23 w 280"/>
                <a:gd name="T65" fmla="*/ 252 h 288"/>
                <a:gd name="T66" fmla="*/ 66 w 280"/>
                <a:gd name="T67" fmla="*/ 288 h 288"/>
                <a:gd name="T68" fmla="*/ 100 w 280"/>
                <a:gd name="T69" fmla="*/ 271 h 288"/>
                <a:gd name="T70" fmla="*/ 103 w 280"/>
                <a:gd name="T71" fmla="*/ 208 h 288"/>
                <a:gd name="T72" fmla="*/ 69 w 280"/>
                <a:gd name="T73" fmla="*/ 267 h 288"/>
                <a:gd name="T74" fmla="*/ 45 w 280"/>
                <a:gd name="T75" fmla="*/ 249 h 288"/>
                <a:gd name="T76" fmla="*/ 84 w 280"/>
                <a:gd name="T77" fmla="*/ 220 h 288"/>
                <a:gd name="T78" fmla="*/ 83 w 280"/>
                <a:gd name="T79" fmla="*/ 25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80" h="288">
                  <a:moveTo>
                    <a:pt x="280" y="83"/>
                  </a:moveTo>
                  <a:cubicBezTo>
                    <a:pt x="280" y="79"/>
                    <a:pt x="271" y="0"/>
                    <a:pt x="212" y="0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198" y="0"/>
                    <a:pt x="187" y="5"/>
                    <a:pt x="178" y="14"/>
                  </a:cubicBezTo>
                  <a:cubicBezTo>
                    <a:pt x="155" y="41"/>
                    <a:pt x="161" y="93"/>
                    <a:pt x="161" y="99"/>
                  </a:cubicBezTo>
                  <a:cubicBezTo>
                    <a:pt x="161" y="100"/>
                    <a:pt x="162" y="100"/>
                    <a:pt x="162" y="101"/>
                  </a:cubicBezTo>
                  <a:cubicBezTo>
                    <a:pt x="165" y="115"/>
                    <a:pt x="177" y="169"/>
                    <a:pt x="177" y="170"/>
                  </a:cubicBezTo>
                  <a:cubicBezTo>
                    <a:pt x="178" y="175"/>
                    <a:pt x="183" y="179"/>
                    <a:pt x="188" y="178"/>
                  </a:cubicBezTo>
                  <a:cubicBezTo>
                    <a:pt x="206" y="177"/>
                    <a:pt x="244" y="190"/>
                    <a:pt x="257" y="195"/>
                  </a:cubicBezTo>
                  <a:cubicBezTo>
                    <a:pt x="258" y="196"/>
                    <a:pt x="260" y="196"/>
                    <a:pt x="261" y="196"/>
                  </a:cubicBezTo>
                  <a:cubicBezTo>
                    <a:pt x="263" y="196"/>
                    <a:pt x="264" y="196"/>
                    <a:pt x="266" y="195"/>
                  </a:cubicBezTo>
                  <a:cubicBezTo>
                    <a:pt x="268" y="194"/>
                    <a:pt x="270" y="191"/>
                    <a:pt x="271" y="189"/>
                  </a:cubicBezTo>
                  <a:cubicBezTo>
                    <a:pt x="280" y="159"/>
                    <a:pt x="280" y="87"/>
                    <a:pt x="280" y="84"/>
                  </a:cubicBezTo>
                  <a:cubicBezTo>
                    <a:pt x="280" y="83"/>
                    <a:pt x="280" y="83"/>
                    <a:pt x="280" y="83"/>
                  </a:cubicBezTo>
                  <a:close/>
                  <a:moveTo>
                    <a:pt x="253" y="171"/>
                  </a:moveTo>
                  <a:cubicBezTo>
                    <a:pt x="239" y="166"/>
                    <a:pt x="215" y="159"/>
                    <a:pt x="196" y="157"/>
                  </a:cubicBezTo>
                  <a:cubicBezTo>
                    <a:pt x="193" y="141"/>
                    <a:pt x="185" y="108"/>
                    <a:pt x="183" y="96"/>
                  </a:cubicBezTo>
                  <a:cubicBezTo>
                    <a:pt x="181" y="82"/>
                    <a:pt x="180" y="45"/>
                    <a:pt x="194" y="29"/>
                  </a:cubicBezTo>
                  <a:cubicBezTo>
                    <a:pt x="199" y="24"/>
                    <a:pt x="204" y="22"/>
                    <a:pt x="212" y="22"/>
                  </a:cubicBezTo>
                  <a:cubicBezTo>
                    <a:pt x="212" y="22"/>
                    <a:pt x="212" y="22"/>
                    <a:pt x="212" y="22"/>
                  </a:cubicBezTo>
                  <a:cubicBezTo>
                    <a:pt x="250" y="22"/>
                    <a:pt x="258" y="78"/>
                    <a:pt x="259" y="85"/>
                  </a:cubicBezTo>
                  <a:cubicBezTo>
                    <a:pt x="259" y="91"/>
                    <a:pt x="258" y="141"/>
                    <a:pt x="253" y="171"/>
                  </a:cubicBezTo>
                  <a:close/>
                  <a:moveTo>
                    <a:pt x="188" y="199"/>
                  </a:moveTo>
                  <a:cubicBezTo>
                    <a:pt x="182" y="199"/>
                    <a:pt x="178" y="203"/>
                    <a:pt x="177" y="208"/>
                  </a:cubicBezTo>
                  <a:cubicBezTo>
                    <a:pt x="173" y="240"/>
                    <a:pt x="173" y="240"/>
                    <a:pt x="173" y="240"/>
                  </a:cubicBezTo>
                  <a:cubicBezTo>
                    <a:pt x="169" y="263"/>
                    <a:pt x="186" y="285"/>
                    <a:pt x="209" y="288"/>
                  </a:cubicBezTo>
                  <a:cubicBezTo>
                    <a:pt x="211" y="288"/>
                    <a:pt x="213" y="288"/>
                    <a:pt x="215" y="288"/>
                  </a:cubicBezTo>
                  <a:cubicBezTo>
                    <a:pt x="224" y="288"/>
                    <a:pt x="233" y="285"/>
                    <a:pt x="241" y="280"/>
                  </a:cubicBezTo>
                  <a:cubicBezTo>
                    <a:pt x="250" y="273"/>
                    <a:pt x="256" y="263"/>
                    <a:pt x="257" y="252"/>
                  </a:cubicBezTo>
                  <a:cubicBezTo>
                    <a:pt x="260" y="231"/>
                    <a:pt x="260" y="231"/>
                    <a:pt x="260" y="231"/>
                  </a:cubicBezTo>
                  <a:cubicBezTo>
                    <a:pt x="261" y="228"/>
                    <a:pt x="260" y="225"/>
                    <a:pt x="258" y="223"/>
                  </a:cubicBezTo>
                  <a:cubicBezTo>
                    <a:pt x="246" y="206"/>
                    <a:pt x="223" y="199"/>
                    <a:pt x="188" y="199"/>
                  </a:cubicBezTo>
                  <a:close/>
                  <a:moveTo>
                    <a:pt x="236" y="249"/>
                  </a:moveTo>
                  <a:cubicBezTo>
                    <a:pt x="235" y="254"/>
                    <a:pt x="232" y="259"/>
                    <a:pt x="228" y="263"/>
                  </a:cubicBezTo>
                  <a:cubicBezTo>
                    <a:pt x="223" y="266"/>
                    <a:pt x="218" y="268"/>
                    <a:pt x="212" y="267"/>
                  </a:cubicBezTo>
                  <a:cubicBezTo>
                    <a:pt x="200" y="265"/>
                    <a:pt x="192" y="254"/>
                    <a:pt x="194" y="243"/>
                  </a:cubicBezTo>
                  <a:cubicBezTo>
                    <a:pt x="197" y="220"/>
                    <a:pt x="197" y="220"/>
                    <a:pt x="197" y="220"/>
                  </a:cubicBezTo>
                  <a:cubicBezTo>
                    <a:pt x="217" y="221"/>
                    <a:pt x="231" y="225"/>
                    <a:pt x="238" y="232"/>
                  </a:cubicBezTo>
                  <a:lnTo>
                    <a:pt x="236" y="249"/>
                  </a:lnTo>
                  <a:close/>
                  <a:moveTo>
                    <a:pt x="69" y="0"/>
                  </a:moveTo>
                  <a:cubicBezTo>
                    <a:pt x="69" y="0"/>
                    <a:pt x="69" y="0"/>
                    <a:pt x="69" y="0"/>
                  </a:cubicBezTo>
                  <a:cubicBezTo>
                    <a:pt x="10" y="0"/>
                    <a:pt x="1" y="79"/>
                    <a:pt x="0" y="83"/>
                  </a:cubicBezTo>
                  <a:cubicBezTo>
                    <a:pt x="0" y="83"/>
                    <a:pt x="0" y="83"/>
                    <a:pt x="0" y="84"/>
                  </a:cubicBezTo>
                  <a:cubicBezTo>
                    <a:pt x="0" y="87"/>
                    <a:pt x="1" y="159"/>
                    <a:pt x="9" y="188"/>
                  </a:cubicBezTo>
                  <a:cubicBezTo>
                    <a:pt x="10" y="191"/>
                    <a:pt x="12" y="194"/>
                    <a:pt x="15" y="195"/>
                  </a:cubicBezTo>
                  <a:cubicBezTo>
                    <a:pt x="17" y="196"/>
                    <a:pt x="18" y="196"/>
                    <a:pt x="20" y="196"/>
                  </a:cubicBezTo>
                  <a:cubicBezTo>
                    <a:pt x="21" y="196"/>
                    <a:pt x="22" y="196"/>
                    <a:pt x="24" y="195"/>
                  </a:cubicBezTo>
                  <a:cubicBezTo>
                    <a:pt x="37" y="190"/>
                    <a:pt x="75" y="177"/>
                    <a:pt x="92" y="178"/>
                  </a:cubicBezTo>
                  <a:cubicBezTo>
                    <a:pt x="98" y="179"/>
                    <a:pt x="102" y="175"/>
                    <a:pt x="104" y="170"/>
                  </a:cubicBezTo>
                  <a:cubicBezTo>
                    <a:pt x="104" y="170"/>
                    <a:pt x="115" y="115"/>
                    <a:pt x="119" y="101"/>
                  </a:cubicBezTo>
                  <a:cubicBezTo>
                    <a:pt x="119" y="100"/>
                    <a:pt x="119" y="100"/>
                    <a:pt x="119" y="100"/>
                  </a:cubicBezTo>
                  <a:cubicBezTo>
                    <a:pt x="120" y="94"/>
                    <a:pt x="126" y="41"/>
                    <a:pt x="102" y="14"/>
                  </a:cubicBezTo>
                  <a:cubicBezTo>
                    <a:pt x="94" y="5"/>
                    <a:pt x="82" y="0"/>
                    <a:pt x="69" y="0"/>
                  </a:cubicBezTo>
                  <a:close/>
                  <a:moveTo>
                    <a:pt x="98" y="96"/>
                  </a:moveTo>
                  <a:cubicBezTo>
                    <a:pt x="95" y="108"/>
                    <a:pt x="88" y="142"/>
                    <a:pt x="85" y="157"/>
                  </a:cubicBezTo>
                  <a:cubicBezTo>
                    <a:pt x="66" y="159"/>
                    <a:pt x="42" y="166"/>
                    <a:pt x="28" y="171"/>
                  </a:cubicBezTo>
                  <a:cubicBezTo>
                    <a:pt x="22" y="142"/>
                    <a:pt x="22" y="91"/>
                    <a:pt x="22" y="85"/>
                  </a:cubicBezTo>
                  <a:cubicBezTo>
                    <a:pt x="22" y="78"/>
                    <a:pt x="31" y="22"/>
                    <a:pt x="69" y="22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76" y="22"/>
                    <a:pt x="82" y="24"/>
                    <a:pt x="86" y="29"/>
                  </a:cubicBezTo>
                  <a:cubicBezTo>
                    <a:pt x="101" y="45"/>
                    <a:pt x="100" y="82"/>
                    <a:pt x="98" y="96"/>
                  </a:cubicBezTo>
                  <a:close/>
                  <a:moveTo>
                    <a:pt x="103" y="208"/>
                  </a:moveTo>
                  <a:cubicBezTo>
                    <a:pt x="103" y="203"/>
                    <a:pt x="98" y="199"/>
                    <a:pt x="93" y="199"/>
                  </a:cubicBezTo>
                  <a:cubicBezTo>
                    <a:pt x="58" y="199"/>
                    <a:pt x="34" y="206"/>
                    <a:pt x="22" y="223"/>
                  </a:cubicBezTo>
                  <a:cubicBezTo>
                    <a:pt x="21" y="225"/>
                    <a:pt x="20" y="228"/>
                    <a:pt x="20" y="231"/>
                  </a:cubicBezTo>
                  <a:cubicBezTo>
                    <a:pt x="23" y="252"/>
                    <a:pt x="23" y="252"/>
                    <a:pt x="23" y="252"/>
                  </a:cubicBezTo>
                  <a:cubicBezTo>
                    <a:pt x="25" y="263"/>
                    <a:pt x="31" y="273"/>
                    <a:pt x="40" y="280"/>
                  </a:cubicBezTo>
                  <a:cubicBezTo>
                    <a:pt x="47" y="285"/>
                    <a:pt x="56" y="288"/>
                    <a:pt x="66" y="288"/>
                  </a:cubicBezTo>
                  <a:cubicBezTo>
                    <a:pt x="68" y="288"/>
                    <a:pt x="70" y="288"/>
                    <a:pt x="72" y="288"/>
                  </a:cubicBezTo>
                  <a:cubicBezTo>
                    <a:pt x="83" y="286"/>
                    <a:pt x="93" y="280"/>
                    <a:pt x="100" y="271"/>
                  </a:cubicBezTo>
                  <a:cubicBezTo>
                    <a:pt x="107" y="262"/>
                    <a:pt x="109" y="251"/>
                    <a:pt x="108" y="240"/>
                  </a:cubicBezTo>
                  <a:lnTo>
                    <a:pt x="103" y="208"/>
                  </a:lnTo>
                  <a:close/>
                  <a:moveTo>
                    <a:pt x="83" y="258"/>
                  </a:moveTo>
                  <a:cubicBezTo>
                    <a:pt x="79" y="263"/>
                    <a:pt x="74" y="266"/>
                    <a:pt x="69" y="267"/>
                  </a:cubicBezTo>
                  <a:cubicBezTo>
                    <a:pt x="63" y="268"/>
                    <a:pt x="57" y="266"/>
                    <a:pt x="53" y="263"/>
                  </a:cubicBezTo>
                  <a:cubicBezTo>
                    <a:pt x="48" y="259"/>
                    <a:pt x="45" y="254"/>
                    <a:pt x="45" y="249"/>
                  </a:cubicBezTo>
                  <a:cubicBezTo>
                    <a:pt x="42" y="232"/>
                    <a:pt x="42" y="232"/>
                    <a:pt x="42" y="232"/>
                  </a:cubicBezTo>
                  <a:cubicBezTo>
                    <a:pt x="50" y="225"/>
                    <a:pt x="64" y="221"/>
                    <a:pt x="84" y="220"/>
                  </a:cubicBezTo>
                  <a:cubicBezTo>
                    <a:pt x="87" y="243"/>
                    <a:pt x="87" y="243"/>
                    <a:pt x="87" y="243"/>
                  </a:cubicBezTo>
                  <a:cubicBezTo>
                    <a:pt x="88" y="248"/>
                    <a:pt x="86" y="254"/>
                    <a:pt x="83" y="2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GB" kern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7" name="Freeform 1014">
              <a:extLst>
                <a:ext uri="{FF2B5EF4-FFF2-40B4-BE49-F238E27FC236}">
                  <a16:creationId xmlns:a16="http://schemas.microsoft.com/office/drawing/2014/main" id="{0795643D-E02D-4DE9-927A-4BB3C15EE6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78" y="399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GB" kern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9998081D-8E0E-468C-9713-5C756142406D}"/>
              </a:ext>
            </a:extLst>
          </p:cNvPr>
          <p:cNvSpPr/>
          <p:nvPr/>
        </p:nvSpPr>
        <p:spPr>
          <a:xfrm>
            <a:off x="7163353" y="1006539"/>
            <a:ext cx="18406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377">
              <a:defRPr/>
            </a:pPr>
            <a:r>
              <a:rPr lang="en-US" b="1" cap="all" spc="300" dirty="0">
                <a:solidFill>
                  <a:srgbClr val="3B3B3B"/>
                </a:solidFill>
                <a:latin typeface="Calibri" panose="020F0502020204030204" pitchFamily="34" charset="0"/>
              </a:rPr>
              <a:t>RPA Is Not…</a:t>
            </a:r>
            <a:endParaRPr lang="en-US" b="1" spc="3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B52CE86-12C8-4011-B4F7-EEA480F17AC4}"/>
              </a:ext>
            </a:extLst>
          </p:cNvPr>
          <p:cNvGrpSpPr/>
          <p:nvPr/>
        </p:nvGrpSpPr>
        <p:grpSpPr>
          <a:xfrm>
            <a:off x="5428881" y="3987210"/>
            <a:ext cx="1258775" cy="1123335"/>
            <a:chOff x="5428880" y="3987209"/>
            <a:chExt cx="1258774" cy="1123334"/>
          </a:xfrm>
        </p:grpSpPr>
        <p:sp>
          <p:nvSpPr>
            <p:cNvPr id="73" name="Freeform 178">
              <a:extLst>
                <a:ext uri="{FF2B5EF4-FFF2-40B4-BE49-F238E27FC236}">
                  <a16:creationId xmlns:a16="http://schemas.microsoft.com/office/drawing/2014/main" id="{BDB87AD2-E7CC-4012-B2F6-72B5EE782F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8880" y="4775932"/>
              <a:ext cx="1258774" cy="334611"/>
            </a:xfrm>
            <a:custGeom>
              <a:avLst/>
              <a:gdLst>
                <a:gd name="T0" fmla="*/ 314 w 315"/>
                <a:gd name="T1" fmla="*/ 62 h 84"/>
                <a:gd name="T2" fmla="*/ 288 w 315"/>
                <a:gd name="T3" fmla="*/ 3 h 84"/>
                <a:gd name="T4" fmla="*/ 288 w 315"/>
                <a:gd name="T5" fmla="*/ 3 h 84"/>
                <a:gd name="T6" fmla="*/ 286 w 315"/>
                <a:gd name="T7" fmla="*/ 0 h 84"/>
                <a:gd name="T8" fmla="*/ 283 w 315"/>
                <a:gd name="T9" fmla="*/ 0 h 84"/>
                <a:gd name="T10" fmla="*/ 32 w 315"/>
                <a:gd name="T11" fmla="*/ 0 h 84"/>
                <a:gd name="T12" fmla="*/ 32 w 315"/>
                <a:gd name="T13" fmla="*/ 0 h 84"/>
                <a:gd name="T14" fmla="*/ 29 w 315"/>
                <a:gd name="T15" fmla="*/ 0 h 84"/>
                <a:gd name="T16" fmla="*/ 26 w 315"/>
                <a:gd name="T17" fmla="*/ 3 h 84"/>
                <a:gd name="T18" fmla="*/ 1 w 315"/>
                <a:gd name="T19" fmla="*/ 62 h 84"/>
                <a:gd name="T20" fmla="*/ 1 w 315"/>
                <a:gd name="T21" fmla="*/ 62 h 84"/>
                <a:gd name="T22" fmla="*/ 0 w 315"/>
                <a:gd name="T23" fmla="*/ 66 h 84"/>
                <a:gd name="T24" fmla="*/ 0 w 315"/>
                <a:gd name="T25" fmla="*/ 70 h 84"/>
                <a:gd name="T26" fmla="*/ 1 w 315"/>
                <a:gd name="T27" fmla="*/ 74 h 84"/>
                <a:gd name="T28" fmla="*/ 2 w 315"/>
                <a:gd name="T29" fmla="*/ 77 h 84"/>
                <a:gd name="T30" fmla="*/ 2 w 315"/>
                <a:gd name="T31" fmla="*/ 77 h 84"/>
                <a:gd name="T32" fmla="*/ 5 w 315"/>
                <a:gd name="T33" fmla="*/ 79 h 84"/>
                <a:gd name="T34" fmla="*/ 8 w 315"/>
                <a:gd name="T35" fmla="*/ 82 h 84"/>
                <a:gd name="T36" fmla="*/ 12 w 315"/>
                <a:gd name="T37" fmla="*/ 84 h 84"/>
                <a:gd name="T38" fmla="*/ 16 w 315"/>
                <a:gd name="T39" fmla="*/ 84 h 84"/>
                <a:gd name="T40" fmla="*/ 299 w 315"/>
                <a:gd name="T41" fmla="*/ 84 h 84"/>
                <a:gd name="T42" fmla="*/ 299 w 315"/>
                <a:gd name="T43" fmla="*/ 84 h 84"/>
                <a:gd name="T44" fmla="*/ 303 w 315"/>
                <a:gd name="T45" fmla="*/ 84 h 84"/>
                <a:gd name="T46" fmla="*/ 307 w 315"/>
                <a:gd name="T47" fmla="*/ 82 h 84"/>
                <a:gd name="T48" fmla="*/ 310 w 315"/>
                <a:gd name="T49" fmla="*/ 79 h 84"/>
                <a:gd name="T50" fmla="*/ 313 w 315"/>
                <a:gd name="T51" fmla="*/ 77 h 84"/>
                <a:gd name="T52" fmla="*/ 313 w 315"/>
                <a:gd name="T53" fmla="*/ 77 h 84"/>
                <a:gd name="T54" fmla="*/ 314 w 315"/>
                <a:gd name="T55" fmla="*/ 74 h 84"/>
                <a:gd name="T56" fmla="*/ 315 w 315"/>
                <a:gd name="T57" fmla="*/ 70 h 84"/>
                <a:gd name="T58" fmla="*/ 315 w 315"/>
                <a:gd name="T59" fmla="*/ 66 h 84"/>
                <a:gd name="T60" fmla="*/ 314 w 315"/>
                <a:gd name="T61" fmla="*/ 62 h 84"/>
                <a:gd name="T62" fmla="*/ 314 w 315"/>
                <a:gd name="T63" fmla="*/ 6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15" h="84">
                  <a:moveTo>
                    <a:pt x="314" y="62"/>
                  </a:moveTo>
                  <a:lnTo>
                    <a:pt x="288" y="3"/>
                  </a:lnTo>
                  <a:lnTo>
                    <a:pt x="288" y="3"/>
                  </a:lnTo>
                  <a:lnTo>
                    <a:pt x="286" y="0"/>
                  </a:lnTo>
                  <a:lnTo>
                    <a:pt x="283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9" y="0"/>
                  </a:lnTo>
                  <a:lnTo>
                    <a:pt x="26" y="3"/>
                  </a:lnTo>
                  <a:lnTo>
                    <a:pt x="1" y="62"/>
                  </a:lnTo>
                  <a:lnTo>
                    <a:pt x="1" y="62"/>
                  </a:lnTo>
                  <a:lnTo>
                    <a:pt x="0" y="66"/>
                  </a:lnTo>
                  <a:lnTo>
                    <a:pt x="0" y="70"/>
                  </a:lnTo>
                  <a:lnTo>
                    <a:pt x="1" y="74"/>
                  </a:lnTo>
                  <a:lnTo>
                    <a:pt x="2" y="77"/>
                  </a:lnTo>
                  <a:lnTo>
                    <a:pt x="2" y="77"/>
                  </a:lnTo>
                  <a:lnTo>
                    <a:pt x="5" y="79"/>
                  </a:lnTo>
                  <a:lnTo>
                    <a:pt x="8" y="82"/>
                  </a:lnTo>
                  <a:lnTo>
                    <a:pt x="12" y="84"/>
                  </a:lnTo>
                  <a:lnTo>
                    <a:pt x="16" y="84"/>
                  </a:lnTo>
                  <a:lnTo>
                    <a:pt x="299" y="84"/>
                  </a:lnTo>
                  <a:lnTo>
                    <a:pt x="299" y="84"/>
                  </a:lnTo>
                  <a:lnTo>
                    <a:pt x="303" y="84"/>
                  </a:lnTo>
                  <a:lnTo>
                    <a:pt x="307" y="82"/>
                  </a:lnTo>
                  <a:lnTo>
                    <a:pt x="310" y="79"/>
                  </a:lnTo>
                  <a:lnTo>
                    <a:pt x="313" y="77"/>
                  </a:lnTo>
                  <a:lnTo>
                    <a:pt x="313" y="77"/>
                  </a:lnTo>
                  <a:lnTo>
                    <a:pt x="314" y="74"/>
                  </a:lnTo>
                  <a:lnTo>
                    <a:pt x="315" y="70"/>
                  </a:lnTo>
                  <a:lnTo>
                    <a:pt x="315" y="66"/>
                  </a:lnTo>
                  <a:lnTo>
                    <a:pt x="314" y="62"/>
                  </a:lnTo>
                  <a:lnTo>
                    <a:pt x="314" y="6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 sz="28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" name="Freeform 179">
              <a:extLst>
                <a:ext uri="{FF2B5EF4-FFF2-40B4-BE49-F238E27FC236}">
                  <a16:creationId xmlns:a16="http://schemas.microsoft.com/office/drawing/2014/main" id="{D0D37DB2-5FE8-4767-9B8B-B92F2D7216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0417" y="3987209"/>
              <a:ext cx="1043669" cy="748891"/>
            </a:xfrm>
            <a:custGeom>
              <a:avLst/>
              <a:gdLst>
                <a:gd name="T0" fmla="*/ 6 w 262"/>
                <a:gd name="T1" fmla="*/ 188 h 188"/>
                <a:gd name="T2" fmla="*/ 257 w 262"/>
                <a:gd name="T3" fmla="*/ 188 h 188"/>
                <a:gd name="T4" fmla="*/ 257 w 262"/>
                <a:gd name="T5" fmla="*/ 188 h 188"/>
                <a:gd name="T6" fmla="*/ 260 w 262"/>
                <a:gd name="T7" fmla="*/ 188 h 188"/>
                <a:gd name="T8" fmla="*/ 261 w 262"/>
                <a:gd name="T9" fmla="*/ 187 h 188"/>
                <a:gd name="T10" fmla="*/ 262 w 262"/>
                <a:gd name="T11" fmla="*/ 186 h 188"/>
                <a:gd name="T12" fmla="*/ 262 w 262"/>
                <a:gd name="T13" fmla="*/ 183 h 188"/>
                <a:gd name="T14" fmla="*/ 262 w 262"/>
                <a:gd name="T15" fmla="*/ 26 h 188"/>
                <a:gd name="T16" fmla="*/ 262 w 262"/>
                <a:gd name="T17" fmla="*/ 26 h 188"/>
                <a:gd name="T18" fmla="*/ 262 w 262"/>
                <a:gd name="T19" fmla="*/ 21 h 188"/>
                <a:gd name="T20" fmla="*/ 261 w 262"/>
                <a:gd name="T21" fmla="*/ 15 h 188"/>
                <a:gd name="T22" fmla="*/ 258 w 262"/>
                <a:gd name="T23" fmla="*/ 11 h 188"/>
                <a:gd name="T24" fmla="*/ 254 w 262"/>
                <a:gd name="T25" fmla="*/ 7 h 188"/>
                <a:gd name="T26" fmla="*/ 250 w 262"/>
                <a:gd name="T27" fmla="*/ 4 h 188"/>
                <a:gd name="T28" fmla="*/ 246 w 262"/>
                <a:gd name="T29" fmla="*/ 2 h 188"/>
                <a:gd name="T30" fmla="*/ 241 w 262"/>
                <a:gd name="T31" fmla="*/ 0 h 188"/>
                <a:gd name="T32" fmla="*/ 237 w 262"/>
                <a:gd name="T33" fmla="*/ 0 h 188"/>
                <a:gd name="T34" fmla="*/ 26 w 262"/>
                <a:gd name="T35" fmla="*/ 0 h 188"/>
                <a:gd name="T36" fmla="*/ 26 w 262"/>
                <a:gd name="T37" fmla="*/ 0 h 188"/>
                <a:gd name="T38" fmla="*/ 22 w 262"/>
                <a:gd name="T39" fmla="*/ 0 h 188"/>
                <a:gd name="T40" fmla="*/ 17 w 262"/>
                <a:gd name="T41" fmla="*/ 2 h 188"/>
                <a:gd name="T42" fmla="*/ 13 w 262"/>
                <a:gd name="T43" fmla="*/ 4 h 188"/>
                <a:gd name="T44" fmla="*/ 8 w 262"/>
                <a:gd name="T45" fmla="*/ 7 h 188"/>
                <a:gd name="T46" fmla="*/ 4 w 262"/>
                <a:gd name="T47" fmla="*/ 11 h 188"/>
                <a:gd name="T48" fmla="*/ 3 w 262"/>
                <a:gd name="T49" fmla="*/ 15 h 188"/>
                <a:gd name="T50" fmla="*/ 0 w 262"/>
                <a:gd name="T51" fmla="*/ 21 h 188"/>
                <a:gd name="T52" fmla="*/ 0 w 262"/>
                <a:gd name="T53" fmla="*/ 26 h 188"/>
                <a:gd name="T54" fmla="*/ 0 w 262"/>
                <a:gd name="T55" fmla="*/ 183 h 188"/>
                <a:gd name="T56" fmla="*/ 0 w 262"/>
                <a:gd name="T57" fmla="*/ 183 h 188"/>
                <a:gd name="T58" fmla="*/ 0 w 262"/>
                <a:gd name="T59" fmla="*/ 186 h 188"/>
                <a:gd name="T60" fmla="*/ 2 w 262"/>
                <a:gd name="T61" fmla="*/ 187 h 188"/>
                <a:gd name="T62" fmla="*/ 3 w 262"/>
                <a:gd name="T63" fmla="*/ 188 h 188"/>
                <a:gd name="T64" fmla="*/ 6 w 262"/>
                <a:gd name="T65" fmla="*/ 188 h 188"/>
                <a:gd name="T66" fmla="*/ 6 w 262"/>
                <a:gd name="T67" fmla="*/ 188 h 188"/>
                <a:gd name="T68" fmla="*/ 18 w 262"/>
                <a:gd name="T69" fmla="*/ 25 h 188"/>
                <a:gd name="T70" fmla="*/ 18 w 262"/>
                <a:gd name="T71" fmla="*/ 25 h 188"/>
                <a:gd name="T72" fmla="*/ 18 w 262"/>
                <a:gd name="T73" fmla="*/ 22 h 188"/>
                <a:gd name="T74" fmla="*/ 19 w 262"/>
                <a:gd name="T75" fmla="*/ 21 h 188"/>
                <a:gd name="T76" fmla="*/ 21 w 262"/>
                <a:gd name="T77" fmla="*/ 19 h 188"/>
                <a:gd name="T78" fmla="*/ 23 w 262"/>
                <a:gd name="T79" fmla="*/ 19 h 188"/>
                <a:gd name="T80" fmla="*/ 240 w 262"/>
                <a:gd name="T81" fmla="*/ 19 h 188"/>
                <a:gd name="T82" fmla="*/ 240 w 262"/>
                <a:gd name="T83" fmla="*/ 19 h 188"/>
                <a:gd name="T84" fmla="*/ 241 w 262"/>
                <a:gd name="T85" fmla="*/ 19 h 188"/>
                <a:gd name="T86" fmla="*/ 244 w 262"/>
                <a:gd name="T87" fmla="*/ 21 h 188"/>
                <a:gd name="T88" fmla="*/ 244 w 262"/>
                <a:gd name="T89" fmla="*/ 22 h 188"/>
                <a:gd name="T90" fmla="*/ 245 w 262"/>
                <a:gd name="T91" fmla="*/ 25 h 188"/>
                <a:gd name="T92" fmla="*/ 245 w 262"/>
                <a:gd name="T93" fmla="*/ 166 h 188"/>
                <a:gd name="T94" fmla="*/ 245 w 262"/>
                <a:gd name="T95" fmla="*/ 166 h 188"/>
                <a:gd name="T96" fmla="*/ 244 w 262"/>
                <a:gd name="T97" fmla="*/ 167 h 188"/>
                <a:gd name="T98" fmla="*/ 244 w 262"/>
                <a:gd name="T99" fmla="*/ 170 h 188"/>
                <a:gd name="T100" fmla="*/ 241 w 262"/>
                <a:gd name="T101" fmla="*/ 170 h 188"/>
                <a:gd name="T102" fmla="*/ 240 w 262"/>
                <a:gd name="T103" fmla="*/ 171 h 188"/>
                <a:gd name="T104" fmla="*/ 23 w 262"/>
                <a:gd name="T105" fmla="*/ 171 h 188"/>
                <a:gd name="T106" fmla="*/ 23 w 262"/>
                <a:gd name="T107" fmla="*/ 171 h 188"/>
                <a:gd name="T108" fmla="*/ 21 w 262"/>
                <a:gd name="T109" fmla="*/ 170 h 188"/>
                <a:gd name="T110" fmla="*/ 19 w 262"/>
                <a:gd name="T111" fmla="*/ 170 h 188"/>
                <a:gd name="T112" fmla="*/ 18 w 262"/>
                <a:gd name="T113" fmla="*/ 167 h 188"/>
                <a:gd name="T114" fmla="*/ 18 w 262"/>
                <a:gd name="T115" fmla="*/ 166 h 188"/>
                <a:gd name="T116" fmla="*/ 18 w 262"/>
                <a:gd name="T117" fmla="*/ 2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2" h="188">
                  <a:moveTo>
                    <a:pt x="6" y="188"/>
                  </a:moveTo>
                  <a:lnTo>
                    <a:pt x="257" y="188"/>
                  </a:lnTo>
                  <a:lnTo>
                    <a:pt x="257" y="188"/>
                  </a:lnTo>
                  <a:lnTo>
                    <a:pt x="260" y="188"/>
                  </a:lnTo>
                  <a:lnTo>
                    <a:pt x="261" y="187"/>
                  </a:lnTo>
                  <a:lnTo>
                    <a:pt x="262" y="186"/>
                  </a:lnTo>
                  <a:lnTo>
                    <a:pt x="262" y="183"/>
                  </a:lnTo>
                  <a:lnTo>
                    <a:pt x="262" y="26"/>
                  </a:lnTo>
                  <a:lnTo>
                    <a:pt x="262" y="26"/>
                  </a:lnTo>
                  <a:lnTo>
                    <a:pt x="262" y="21"/>
                  </a:lnTo>
                  <a:lnTo>
                    <a:pt x="261" y="15"/>
                  </a:lnTo>
                  <a:lnTo>
                    <a:pt x="258" y="11"/>
                  </a:lnTo>
                  <a:lnTo>
                    <a:pt x="254" y="7"/>
                  </a:lnTo>
                  <a:lnTo>
                    <a:pt x="250" y="4"/>
                  </a:lnTo>
                  <a:lnTo>
                    <a:pt x="246" y="2"/>
                  </a:lnTo>
                  <a:lnTo>
                    <a:pt x="241" y="0"/>
                  </a:lnTo>
                  <a:lnTo>
                    <a:pt x="237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2" y="0"/>
                  </a:lnTo>
                  <a:lnTo>
                    <a:pt x="17" y="2"/>
                  </a:lnTo>
                  <a:lnTo>
                    <a:pt x="13" y="4"/>
                  </a:lnTo>
                  <a:lnTo>
                    <a:pt x="8" y="7"/>
                  </a:lnTo>
                  <a:lnTo>
                    <a:pt x="4" y="11"/>
                  </a:lnTo>
                  <a:lnTo>
                    <a:pt x="3" y="15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0" y="183"/>
                  </a:lnTo>
                  <a:lnTo>
                    <a:pt x="0" y="183"/>
                  </a:lnTo>
                  <a:lnTo>
                    <a:pt x="0" y="186"/>
                  </a:lnTo>
                  <a:lnTo>
                    <a:pt x="2" y="187"/>
                  </a:lnTo>
                  <a:lnTo>
                    <a:pt x="3" y="188"/>
                  </a:lnTo>
                  <a:lnTo>
                    <a:pt x="6" y="188"/>
                  </a:lnTo>
                  <a:lnTo>
                    <a:pt x="6" y="188"/>
                  </a:lnTo>
                  <a:close/>
                  <a:moveTo>
                    <a:pt x="18" y="25"/>
                  </a:moveTo>
                  <a:lnTo>
                    <a:pt x="18" y="25"/>
                  </a:lnTo>
                  <a:lnTo>
                    <a:pt x="18" y="22"/>
                  </a:lnTo>
                  <a:lnTo>
                    <a:pt x="19" y="21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40" y="19"/>
                  </a:lnTo>
                  <a:lnTo>
                    <a:pt x="240" y="19"/>
                  </a:lnTo>
                  <a:lnTo>
                    <a:pt x="241" y="19"/>
                  </a:lnTo>
                  <a:lnTo>
                    <a:pt x="244" y="21"/>
                  </a:lnTo>
                  <a:lnTo>
                    <a:pt x="244" y="22"/>
                  </a:lnTo>
                  <a:lnTo>
                    <a:pt x="245" y="25"/>
                  </a:lnTo>
                  <a:lnTo>
                    <a:pt x="245" y="166"/>
                  </a:lnTo>
                  <a:lnTo>
                    <a:pt x="245" y="166"/>
                  </a:lnTo>
                  <a:lnTo>
                    <a:pt x="244" y="167"/>
                  </a:lnTo>
                  <a:lnTo>
                    <a:pt x="244" y="170"/>
                  </a:lnTo>
                  <a:lnTo>
                    <a:pt x="241" y="170"/>
                  </a:lnTo>
                  <a:lnTo>
                    <a:pt x="240" y="171"/>
                  </a:lnTo>
                  <a:lnTo>
                    <a:pt x="23" y="171"/>
                  </a:lnTo>
                  <a:lnTo>
                    <a:pt x="23" y="171"/>
                  </a:lnTo>
                  <a:lnTo>
                    <a:pt x="21" y="170"/>
                  </a:lnTo>
                  <a:lnTo>
                    <a:pt x="19" y="170"/>
                  </a:lnTo>
                  <a:lnTo>
                    <a:pt x="18" y="167"/>
                  </a:lnTo>
                  <a:lnTo>
                    <a:pt x="18" y="166"/>
                  </a:lnTo>
                  <a:lnTo>
                    <a:pt x="18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 sz="280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1195C04-ED44-4C30-887A-D8C0B6CFBD0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928886" y="4223542"/>
              <a:ext cx="258763" cy="276225"/>
              <a:chOff x="9469438" y="5979160"/>
              <a:chExt cx="258763" cy="276225"/>
            </a:xfrm>
          </p:grpSpPr>
          <p:sp>
            <p:nvSpPr>
              <p:cNvPr id="75" name="Freeform 329">
                <a:extLst>
                  <a:ext uri="{FF2B5EF4-FFF2-40B4-BE49-F238E27FC236}">
                    <a16:creationId xmlns:a16="http://schemas.microsoft.com/office/drawing/2014/main" id="{D4EE1684-FEAF-4040-AF3C-02373353D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9438" y="6077585"/>
                <a:ext cx="79375" cy="79375"/>
              </a:xfrm>
              <a:custGeom>
                <a:avLst/>
                <a:gdLst>
                  <a:gd name="T0" fmla="*/ 51 w 100"/>
                  <a:gd name="T1" fmla="*/ 0 h 100"/>
                  <a:gd name="T2" fmla="*/ 51 w 100"/>
                  <a:gd name="T3" fmla="*/ 0 h 100"/>
                  <a:gd name="T4" fmla="*/ 40 w 100"/>
                  <a:gd name="T5" fmla="*/ 0 h 100"/>
                  <a:gd name="T6" fmla="*/ 31 w 100"/>
                  <a:gd name="T7" fmla="*/ 4 h 100"/>
                  <a:gd name="T8" fmla="*/ 23 w 100"/>
                  <a:gd name="T9" fmla="*/ 8 h 100"/>
                  <a:gd name="T10" fmla="*/ 14 w 100"/>
                  <a:gd name="T11" fmla="*/ 14 h 100"/>
                  <a:gd name="T12" fmla="*/ 9 w 100"/>
                  <a:gd name="T13" fmla="*/ 21 h 100"/>
                  <a:gd name="T14" fmla="*/ 4 w 100"/>
                  <a:gd name="T15" fmla="*/ 31 h 100"/>
                  <a:gd name="T16" fmla="*/ 1 w 100"/>
                  <a:gd name="T17" fmla="*/ 40 h 100"/>
                  <a:gd name="T18" fmla="*/ 0 w 100"/>
                  <a:gd name="T19" fmla="*/ 49 h 100"/>
                  <a:gd name="T20" fmla="*/ 0 w 100"/>
                  <a:gd name="T21" fmla="*/ 49 h 100"/>
                  <a:gd name="T22" fmla="*/ 1 w 100"/>
                  <a:gd name="T23" fmla="*/ 60 h 100"/>
                  <a:gd name="T24" fmla="*/ 4 w 100"/>
                  <a:gd name="T25" fmla="*/ 69 h 100"/>
                  <a:gd name="T26" fmla="*/ 9 w 100"/>
                  <a:gd name="T27" fmla="*/ 78 h 100"/>
                  <a:gd name="T28" fmla="*/ 14 w 100"/>
                  <a:gd name="T29" fmla="*/ 86 h 100"/>
                  <a:gd name="T30" fmla="*/ 23 w 100"/>
                  <a:gd name="T31" fmla="*/ 92 h 100"/>
                  <a:gd name="T32" fmla="*/ 31 w 100"/>
                  <a:gd name="T33" fmla="*/ 96 h 100"/>
                  <a:gd name="T34" fmla="*/ 40 w 100"/>
                  <a:gd name="T35" fmla="*/ 99 h 100"/>
                  <a:gd name="T36" fmla="*/ 51 w 100"/>
                  <a:gd name="T37" fmla="*/ 100 h 100"/>
                  <a:gd name="T38" fmla="*/ 51 w 100"/>
                  <a:gd name="T39" fmla="*/ 100 h 100"/>
                  <a:gd name="T40" fmla="*/ 60 w 100"/>
                  <a:gd name="T41" fmla="*/ 99 h 100"/>
                  <a:gd name="T42" fmla="*/ 70 w 100"/>
                  <a:gd name="T43" fmla="*/ 96 h 100"/>
                  <a:gd name="T44" fmla="*/ 79 w 100"/>
                  <a:gd name="T45" fmla="*/ 92 h 100"/>
                  <a:gd name="T46" fmla="*/ 86 w 100"/>
                  <a:gd name="T47" fmla="*/ 86 h 100"/>
                  <a:gd name="T48" fmla="*/ 92 w 100"/>
                  <a:gd name="T49" fmla="*/ 78 h 100"/>
                  <a:gd name="T50" fmla="*/ 96 w 100"/>
                  <a:gd name="T51" fmla="*/ 69 h 100"/>
                  <a:gd name="T52" fmla="*/ 100 w 100"/>
                  <a:gd name="T53" fmla="*/ 60 h 100"/>
                  <a:gd name="T54" fmla="*/ 100 w 100"/>
                  <a:gd name="T55" fmla="*/ 49 h 100"/>
                  <a:gd name="T56" fmla="*/ 100 w 100"/>
                  <a:gd name="T57" fmla="*/ 49 h 100"/>
                  <a:gd name="T58" fmla="*/ 100 w 100"/>
                  <a:gd name="T59" fmla="*/ 40 h 100"/>
                  <a:gd name="T60" fmla="*/ 96 w 100"/>
                  <a:gd name="T61" fmla="*/ 31 h 100"/>
                  <a:gd name="T62" fmla="*/ 92 w 100"/>
                  <a:gd name="T63" fmla="*/ 21 h 100"/>
                  <a:gd name="T64" fmla="*/ 86 w 100"/>
                  <a:gd name="T65" fmla="*/ 14 h 100"/>
                  <a:gd name="T66" fmla="*/ 79 w 100"/>
                  <a:gd name="T67" fmla="*/ 8 h 100"/>
                  <a:gd name="T68" fmla="*/ 70 w 100"/>
                  <a:gd name="T69" fmla="*/ 4 h 100"/>
                  <a:gd name="T70" fmla="*/ 60 w 100"/>
                  <a:gd name="T71" fmla="*/ 0 h 100"/>
                  <a:gd name="T72" fmla="*/ 51 w 100"/>
                  <a:gd name="T73" fmla="*/ 0 h 100"/>
                  <a:gd name="T74" fmla="*/ 51 w 100"/>
                  <a:gd name="T75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00" h="100">
                    <a:moveTo>
                      <a:pt x="51" y="0"/>
                    </a:moveTo>
                    <a:lnTo>
                      <a:pt x="51" y="0"/>
                    </a:lnTo>
                    <a:lnTo>
                      <a:pt x="40" y="0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4" y="14"/>
                    </a:lnTo>
                    <a:lnTo>
                      <a:pt x="9" y="21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4" y="86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9" y="92"/>
                    </a:lnTo>
                    <a:lnTo>
                      <a:pt x="86" y="86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6" y="31"/>
                    </a:lnTo>
                    <a:lnTo>
                      <a:pt x="92" y="21"/>
                    </a:lnTo>
                    <a:lnTo>
                      <a:pt x="86" y="14"/>
                    </a:lnTo>
                    <a:lnTo>
                      <a:pt x="79" y="8"/>
                    </a:lnTo>
                    <a:lnTo>
                      <a:pt x="70" y="4"/>
                    </a:lnTo>
                    <a:lnTo>
                      <a:pt x="60" y="0"/>
                    </a:lnTo>
                    <a:lnTo>
                      <a:pt x="51" y="0"/>
                    </a:lnTo>
                    <a:lnTo>
                      <a:pt x="51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2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7" name="Freeform 330">
                <a:extLst>
                  <a:ext uri="{FF2B5EF4-FFF2-40B4-BE49-F238E27FC236}">
                    <a16:creationId xmlns:a16="http://schemas.microsoft.com/office/drawing/2014/main" id="{248E2D21-F9C7-4F10-9F94-6B82A99C20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47238" y="5979160"/>
                <a:ext cx="80963" cy="79375"/>
              </a:xfrm>
              <a:custGeom>
                <a:avLst/>
                <a:gdLst>
                  <a:gd name="T0" fmla="*/ 51 w 102"/>
                  <a:gd name="T1" fmla="*/ 101 h 101"/>
                  <a:gd name="T2" fmla="*/ 51 w 102"/>
                  <a:gd name="T3" fmla="*/ 101 h 101"/>
                  <a:gd name="T4" fmla="*/ 62 w 102"/>
                  <a:gd name="T5" fmla="*/ 99 h 101"/>
                  <a:gd name="T6" fmla="*/ 71 w 102"/>
                  <a:gd name="T7" fmla="*/ 97 h 101"/>
                  <a:gd name="T8" fmla="*/ 79 w 102"/>
                  <a:gd name="T9" fmla="*/ 93 h 101"/>
                  <a:gd name="T10" fmla="*/ 87 w 102"/>
                  <a:gd name="T11" fmla="*/ 86 h 101"/>
                  <a:gd name="T12" fmla="*/ 93 w 102"/>
                  <a:gd name="T13" fmla="*/ 78 h 101"/>
                  <a:gd name="T14" fmla="*/ 98 w 102"/>
                  <a:gd name="T15" fmla="*/ 70 h 101"/>
                  <a:gd name="T16" fmla="*/ 101 w 102"/>
                  <a:gd name="T17" fmla="*/ 60 h 101"/>
                  <a:gd name="T18" fmla="*/ 102 w 102"/>
                  <a:gd name="T19" fmla="*/ 50 h 101"/>
                  <a:gd name="T20" fmla="*/ 102 w 102"/>
                  <a:gd name="T21" fmla="*/ 50 h 101"/>
                  <a:gd name="T22" fmla="*/ 101 w 102"/>
                  <a:gd name="T23" fmla="*/ 40 h 101"/>
                  <a:gd name="T24" fmla="*/ 98 w 102"/>
                  <a:gd name="T25" fmla="*/ 31 h 101"/>
                  <a:gd name="T26" fmla="*/ 93 w 102"/>
                  <a:gd name="T27" fmla="*/ 21 h 101"/>
                  <a:gd name="T28" fmla="*/ 87 w 102"/>
                  <a:gd name="T29" fmla="*/ 15 h 101"/>
                  <a:gd name="T30" fmla="*/ 79 w 102"/>
                  <a:gd name="T31" fmla="*/ 8 h 101"/>
                  <a:gd name="T32" fmla="*/ 71 w 102"/>
                  <a:gd name="T33" fmla="*/ 4 h 101"/>
                  <a:gd name="T34" fmla="*/ 62 w 102"/>
                  <a:gd name="T35" fmla="*/ 0 h 101"/>
                  <a:gd name="T36" fmla="*/ 51 w 102"/>
                  <a:gd name="T37" fmla="*/ 0 h 101"/>
                  <a:gd name="T38" fmla="*/ 51 w 102"/>
                  <a:gd name="T39" fmla="*/ 0 h 101"/>
                  <a:gd name="T40" fmla="*/ 42 w 102"/>
                  <a:gd name="T41" fmla="*/ 0 h 101"/>
                  <a:gd name="T42" fmla="*/ 31 w 102"/>
                  <a:gd name="T43" fmla="*/ 4 h 101"/>
                  <a:gd name="T44" fmla="*/ 23 w 102"/>
                  <a:gd name="T45" fmla="*/ 8 h 101"/>
                  <a:gd name="T46" fmla="*/ 15 w 102"/>
                  <a:gd name="T47" fmla="*/ 15 h 101"/>
                  <a:gd name="T48" fmla="*/ 10 w 102"/>
                  <a:gd name="T49" fmla="*/ 21 h 101"/>
                  <a:gd name="T50" fmla="*/ 4 w 102"/>
                  <a:gd name="T51" fmla="*/ 31 h 101"/>
                  <a:gd name="T52" fmla="*/ 1 w 102"/>
                  <a:gd name="T53" fmla="*/ 40 h 101"/>
                  <a:gd name="T54" fmla="*/ 0 w 102"/>
                  <a:gd name="T55" fmla="*/ 50 h 101"/>
                  <a:gd name="T56" fmla="*/ 0 w 102"/>
                  <a:gd name="T57" fmla="*/ 50 h 101"/>
                  <a:gd name="T58" fmla="*/ 1 w 102"/>
                  <a:gd name="T59" fmla="*/ 60 h 101"/>
                  <a:gd name="T60" fmla="*/ 4 w 102"/>
                  <a:gd name="T61" fmla="*/ 70 h 101"/>
                  <a:gd name="T62" fmla="*/ 10 w 102"/>
                  <a:gd name="T63" fmla="*/ 78 h 101"/>
                  <a:gd name="T64" fmla="*/ 15 w 102"/>
                  <a:gd name="T65" fmla="*/ 86 h 101"/>
                  <a:gd name="T66" fmla="*/ 23 w 102"/>
                  <a:gd name="T67" fmla="*/ 93 h 101"/>
                  <a:gd name="T68" fmla="*/ 31 w 102"/>
                  <a:gd name="T69" fmla="*/ 97 h 101"/>
                  <a:gd name="T70" fmla="*/ 42 w 102"/>
                  <a:gd name="T71" fmla="*/ 99 h 101"/>
                  <a:gd name="T72" fmla="*/ 51 w 102"/>
                  <a:gd name="T73" fmla="*/ 101 h 101"/>
                  <a:gd name="T74" fmla="*/ 51 w 102"/>
                  <a:gd name="T75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02" h="101">
                    <a:moveTo>
                      <a:pt x="51" y="101"/>
                    </a:moveTo>
                    <a:lnTo>
                      <a:pt x="51" y="101"/>
                    </a:lnTo>
                    <a:lnTo>
                      <a:pt x="62" y="99"/>
                    </a:lnTo>
                    <a:lnTo>
                      <a:pt x="71" y="97"/>
                    </a:lnTo>
                    <a:lnTo>
                      <a:pt x="79" y="93"/>
                    </a:lnTo>
                    <a:lnTo>
                      <a:pt x="87" y="86"/>
                    </a:lnTo>
                    <a:lnTo>
                      <a:pt x="93" y="78"/>
                    </a:lnTo>
                    <a:lnTo>
                      <a:pt x="98" y="70"/>
                    </a:lnTo>
                    <a:lnTo>
                      <a:pt x="101" y="60"/>
                    </a:lnTo>
                    <a:lnTo>
                      <a:pt x="102" y="50"/>
                    </a:lnTo>
                    <a:lnTo>
                      <a:pt x="102" y="50"/>
                    </a:lnTo>
                    <a:lnTo>
                      <a:pt x="101" y="40"/>
                    </a:lnTo>
                    <a:lnTo>
                      <a:pt x="98" y="31"/>
                    </a:lnTo>
                    <a:lnTo>
                      <a:pt x="93" y="21"/>
                    </a:lnTo>
                    <a:lnTo>
                      <a:pt x="87" y="15"/>
                    </a:lnTo>
                    <a:lnTo>
                      <a:pt x="79" y="8"/>
                    </a:lnTo>
                    <a:lnTo>
                      <a:pt x="71" y="4"/>
                    </a:lnTo>
                    <a:lnTo>
                      <a:pt x="62" y="0"/>
                    </a:lnTo>
                    <a:lnTo>
                      <a:pt x="51" y="0"/>
                    </a:lnTo>
                    <a:lnTo>
                      <a:pt x="51" y="0"/>
                    </a:lnTo>
                    <a:lnTo>
                      <a:pt x="42" y="0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5" y="15"/>
                    </a:lnTo>
                    <a:lnTo>
                      <a:pt x="10" y="21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10" y="78"/>
                    </a:lnTo>
                    <a:lnTo>
                      <a:pt x="15" y="86"/>
                    </a:lnTo>
                    <a:lnTo>
                      <a:pt x="23" y="93"/>
                    </a:lnTo>
                    <a:lnTo>
                      <a:pt x="31" y="97"/>
                    </a:lnTo>
                    <a:lnTo>
                      <a:pt x="42" y="99"/>
                    </a:lnTo>
                    <a:lnTo>
                      <a:pt x="51" y="101"/>
                    </a:lnTo>
                    <a:lnTo>
                      <a:pt x="51" y="10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2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8" name="Freeform 331">
                <a:extLst>
                  <a:ext uri="{FF2B5EF4-FFF2-40B4-BE49-F238E27FC236}">
                    <a16:creationId xmlns:a16="http://schemas.microsoft.com/office/drawing/2014/main" id="{D59CFA05-9FF4-456C-A59A-1E9558FFF4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47238" y="6176010"/>
                <a:ext cx="80963" cy="79375"/>
              </a:xfrm>
              <a:custGeom>
                <a:avLst/>
                <a:gdLst>
                  <a:gd name="T0" fmla="*/ 51 w 102"/>
                  <a:gd name="T1" fmla="*/ 0 h 101"/>
                  <a:gd name="T2" fmla="*/ 51 w 102"/>
                  <a:gd name="T3" fmla="*/ 0 h 101"/>
                  <a:gd name="T4" fmla="*/ 42 w 102"/>
                  <a:gd name="T5" fmla="*/ 2 h 101"/>
                  <a:gd name="T6" fmla="*/ 31 w 102"/>
                  <a:gd name="T7" fmla="*/ 4 h 101"/>
                  <a:gd name="T8" fmla="*/ 23 w 102"/>
                  <a:gd name="T9" fmla="*/ 8 h 101"/>
                  <a:gd name="T10" fmla="*/ 15 w 102"/>
                  <a:gd name="T11" fmla="*/ 15 h 101"/>
                  <a:gd name="T12" fmla="*/ 10 w 102"/>
                  <a:gd name="T13" fmla="*/ 22 h 101"/>
                  <a:gd name="T14" fmla="*/ 4 w 102"/>
                  <a:gd name="T15" fmla="*/ 31 h 101"/>
                  <a:gd name="T16" fmla="*/ 1 w 102"/>
                  <a:gd name="T17" fmla="*/ 41 h 101"/>
                  <a:gd name="T18" fmla="*/ 0 w 102"/>
                  <a:gd name="T19" fmla="*/ 50 h 101"/>
                  <a:gd name="T20" fmla="*/ 0 w 102"/>
                  <a:gd name="T21" fmla="*/ 50 h 101"/>
                  <a:gd name="T22" fmla="*/ 1 w 102"/>
                  <a:gd name="T23" fmla="*/ 61 h 101"/>
                  <a:gd name="T24" fmla="*/ 4 w 102"/>
                  <a:gd name="T25" fmla="*/ 70 h 101"/>
                  <a:gd name="T26" fmla="*/ 10 w 102"/>
                  <a:gd name="T27" fmla="*/ 78 h 101"/>
                  <a:gd name="T28" fmla="*/ 15 w 102"/>
                  <a:gd name="T29" fmla="*/ 86 h 101"/>
                  <a:gd name="T30" fmla="*/ 23 w 102"/>
                  <a:gd name="T31" fmla="*/ 93 h 101"/>
                  <a:gd name="T32" fmla="*/ 31 w 102"/>
                  <a:gd name="T33" fmla="*/ 97 h 101"/>
                  <a:gd name="T34" fmla="*/ 42 w 102"/>
                  <a:gd name="T35" fmla="*/ 100 h 101"/>
                  <a:gd name="T36" fmla="*/ 51 w 102"/>
                  <a:gd name="T37" fmla="*/ 101 h 101"/>
                  <a:gd name="T38" fmla="*/ 51 w 102"/>
                  <a:gd name="T39" fmla="*/ 101 h 101"/>
                  <a:gd name="T40" fmla="*/ 62 w 102"/>
                  <a:gd name="T41" fmla="*/ 100 h 101"/>
                  <a:gd name="T42" fmla="*/ 71 w 102"/>
                  <a:gd name="T43" fmla="*/ 97 h 101"/>
                  <a:gd name="T44" fmla="*/ 79 w 102"/>
                  <a:gd name="T45" fmla="*/ 93 h 101"/>
                  <a:gd name="T46" fmla="*/ 87 w 102"/>
                  <a:gd name="T47" fmla="*/ 86 h 101"/>
                  <a:gd name="T48" fmla="*/ 93 w 102"/>
                  <a:gd name="T49" fmla="*/ 78 h 101"/>
                  <a:gd name="T50" fmla="*/ 98 w 102"/>
                  <a:gd name="T51" fmla="*/ 70 h 101"/>
                  <a:gd name="T52" fmla="*/ 101 w 102"/>
                  <a:gd name="T53" fmla="*/ 61 h 101"/>
                  <a:gd name="T54" fmla="*/ 102 w 102"/>
                  <a:gd name="T55" fmla="*/ 50 h 101"/>
                  <a:gd name="T56" fmla="*/ 102 w 102"/>
                  <a:gd name="T57" fmla="*/ 50 h 101"/>
                  <a:gd name="T58" fmla="*/ 101 w 102"/>
                  <a:gd name="T59" fmla="*/ 41 h 101"/>
                  <a:gd name="T60" fmla="*/ 98 w 102"/>
                  <a:gd name="T61" fmla="*/ 31 h 101"/>
                  <a:gd name="T62" fmla="*/ 93 w 102"/>
                  <a:gd name="T63" fmla="*/ 22 h 101"/>
                  <a:gd name="T64" fmla="*/ 87 w 102"/>
                  <a:gd name="T65" fmla="*/ 15 h 101"/>
                  <a:gd name="T66" fmla="*/ 79 w 102"/>
                  <a:gd name="T67" fmla="*/ 8 h 101"/>
                  <a:gd name="T68" fmla="*/ 71 w 102"/>
                  <a:gd name="T69" fmla="*/ 4 h 101"/>
                  <a:gd name="T70" fmla="*/ 62 w 102"/>
                  <a:gd name="T71" fmla="*/ 2 h 101"/>
                  <a:gd name="T72" fmla="*/ 51 w 102"/>
                  <a:gd name="T73" fmla="*/ 0 h 101"/>
                  <a:gd name="T74" fmla="*/ 51 w 102"/>
                  <a:gd name="T75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02" h="101">
                    <a:moveTo>
                      <a:pt x="51" y="0"/>
                    </a:moveTo>
                    <a:lnTo>
                      <a:pt x="51" y="0"/>
                    </a:lnTo>
                    <a:lnTo>
                      <a:pt x="42" y="2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5" y="15"/>
                    </a:lnTo>
                    <a:lnTo>
                      <a:pt x="10" y="22"/>
                    </a:lnTo>
                    <a:lnTo>
                      <a:pt x="4" y="31"/>
                    </a:lnTo>
                    <a:lnTo>
                      <a:pt x="1" y="41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1" y="61"/>
                    </a:lnTo>
                    <a:lnTo>
                      <a:pt x="4" y="70"/>
                    </a:lnTo>
                    <a:lnTo>
                      <a:pt x="10" y="78"/>
                    </a:lnTo>
                    <a:lnTo>
                      <a:pt x="15" y="86"/>
                    </a:lnTo>
                    <a:lnTo>
                      <a:pt x="23" y="93"/>
                    </a:lnTo>
                    <a:lnTo>
                      <a:pt x="31" y="97"/>
                    </a:lnTo>
                    <a:lnTo>
                      <a:pt x="42" y="100"/>
                    </a:lnTo>
                    <a:lnTo>
                      <a:pt x="51" y="101"/>
                    </a:lnTo>
                    <a:lnTo>
                      <a:pt x="51" y="101"/>
                    </a:lnTo>
                    <a:lnTo>
                      <a:pt x="62" y="100"/>
                    </a:lnTo>
                    <a:lnTo>
                      <a:pt x="71" y="97"/>
                    </a:lnTo>
                    <a:lnTo>
                      <a:pt x="79" y="93"/>
                    </a:lnTo>
                    <a:lnTo>
                      <a:pt x="87" y="86"/>
                    </a:lnTo>
                    <a:lnTo>
                      <a:pt x="93" y="78"/>
                    </a:lnTo>
                    <a:lnTo>
                      <a:pt x="98" y="70"/>
                    </a:lnTo>
                    <a:lnTo>
                      <a:pt x="101" y="61"/>
                    </a:lnTo>
                    <a:lnTo>
                      <a:pt x="102" y="50"/>
                    </a:lnTo>
                    <a:lnTo>
                      <a:pt x="102" y="50"/>
                    </a:lnTo>
                    <a:lnTo>
                      <a:pt x="101" y="41"/>
                    </a:lnTo>
                    <a:lnTo>
                      <a:pt x="98" y="31"/>
                    </a:lnTo>
                    <a:lnTo>
                      <a:pt x="93" y="22"/>
                    </a:lnTo>
                    <a:lnTo>
                      <a:pt x="87" y="15"/>
                    </a:lnTo>
                    <a:lnTo>
                      <a:pt x="79" y="8"/>
                    </a:lnTo>
                    <a:lnTo>
                      <a:pt x="71" y="4"/>
                    </a:lnTo>
                    <a:lnTo>
                      <a:pt x="62" y="2"/>
                    </a:lnTo>
                    <a:lnTo>
                      <a:pt x="51" y="0"/>
                    </a:lnTo>
                    <a:lnTo>
                      <a:pt x="51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2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9" name="Freeform 332">
                <a:extLst>
                  <a:ext uri="{FF2B5EF4-FFF2-40B4-BE49-F238E27FC236}">
                    <a16:creationId xmlns:a16="http://schemas.microsoft.com/office/drawing/2014/main" id="{6D0B9FEE-0C34-4E74-AF3D-6F6A3E5D98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48813" y="6034723"/>
                <a:ext cx="96838" cy="63500"/>
              </a:xfrm>
              <a:custGeom>
                <a:avLst/>
                <a:gdLst>
                  <a:gd name="T0" fmla="*/ 9 w 121"/>
                  <a:gd name="T1" fmla="*/ 76 h 80"/>
                  <a:gd name="T2" fmla="*/ 10 w 121"/>
                  <a:gd name="T3" fmla="*/ 80 h 80"/>
                  <a:gd name="T4" fmla="*/ 121 w 121"/>
                  <a:gd name="T5" fmla="*/ 16 h 80"/>
                  <a:gd name="T6" fmla="*/ 120 w 121"/>
                  <a:gd name="T7" fmla="*/ 12 h 80"/>
                  <a:gd name="T8" fmla="*/ 120 w 121"/>
                  <a:gd name="T9" fmla="*/ 12 h 80"/>
                  <a:gd name="T10" fmla="*/ 116 w 121"/>
                  <a:gd name="T11" fmla="*/ 4 h 80"/>
                  <a:gd name="T12" fmla="*/ 113 w 121"/>
                  <a:gd name="T13" fmla="*/ 0 h 80"/>
                  <a:gd name="T14" fmla="*/ 0 w 121"/>
                  <a:gd name="T15" fmla="*/ 64 h 80"/>
                  <a:gd name="T16" fmla="*/ 3 w 121"/>
                  <a:gd name="T17" fmla="*/ 68 h 80"/>
                  <a:gd name="T18" fmla="*/ 3 w 121"/>
                  <a:gd name="T19" fmla="*/ 68 h 80"/>
                  <a:gd name="T20" fmla="*/ 9 w 121"/>
                  <a:gd name="T21" fmla="*/ 76 h 80"/>
                  <a:gd name="T22" fmla="*/ 9 w 121"/>
                  <a:gd name="T23" fmla="*/ 76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1" h="80">
                    <a:moveTo>
                      <a:pt x="9" y="76"/>
                    </a:moveTo>
                    <a:lnTo>
                      <a:pt x="10" y="80"/>
                    </a:lnTo>
                    <a:lnTo>
                      <a:pt x="121" y="16"/>
                    </a:lnTo>
                    <a:lnTo>
                      <a:pt x="120" y="12"/>
                    </a:lnTo>
                    <a:lnTo>
                      <a:pt x="120" y="12"/>
                    </a:lnTo>
                    <a:lnTo>
                      <a:pt x="116" y="4"/>
                    </a:lnTo>
                    <a:lnTo>
                      <a:pt x="113" y="0"/>
                    </a:lnTo>
                    <a:lnTo>
                      <a:pt x="0" y="64"/>
                    </a:lnTo>
                    <a:lnTo>
                      <a:pt x="3" y="68"/>
                    </a:lnTo>
                    <a:lnTo>
                      <a:pt x="3" y="68"/>
                    </a:lnTo>
                    <a:lnTo>
                      <a:pt x="9" y="76"/>
                    </a:lnTo>
                    <a:lnTo>
                      <a:pt x="9" y="7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2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0" name="Freeform 333">
                <a:extLst>
                  <a:ext uri="{FF2B5EF4-FFF2-40B4-BE49-F238E27FC236}">
                    <a16:creationId xmlns:a16="http://schemas.microsoft.com/office/drawing/2014/main" id="{6451E17A-AE47-432D-842D-A513A3E956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50401" y="6134735"/>
                <a:ext cx="96838" cy="61913"/>
              </a:xfrm>
              <a:custGeom>
                <a:avLst/>
                <a:gdLst>
                  <a:gd name="T0" fmla="*/ 7 w 122"/>
                  <a:gd name="T1" fmla="*/ 4 h 78"/>
                  <a:gd name="T2" fmla="*/ 7 w 122"/>
                  <a:gd name="T3" fmla="*/ 4 h 78"/>
                  <a:gd name="T4" fmla="*/ 3 w 122"/>
                  <a:gd name="T5" fmla="*/ 12 h 78"/>
                  <a:gd name="T6" fmla="*/ 0 w 122"/>
                  <a:gd name="T7" fmla="*/ 16 h 78"/>
                  <a:gd name="T8" fmla="*/ 113 w 122"/>
                  <a:gd name="T9" fmla="*/ 78 h 78"/>
                  <a:gd name="T10" fmla="*/ 115 w 122"/>
                  <a:gd name="T11" fmla="*/ 74 h 78"/>
                  <a:gd name="T12" fmla="*/ 115 w 122"/>
                  <a:gd name="T13" fmla="*/ 74 h 78"/>
                  <a:gd name="T14" fmla="*/ 119 w 122"/>
                  <a:gd name="T15" fmla="*/ 66 h 78"/>
                  <a:gd name="T16" fmla="*/ 122 w 122"/>
                  <a:gd name="T17" fmla="*/ 63 h 78"/>
                  <a:gd name="T18" fmla="*/ 9 w 122"/>
                  <a:gd name="T19" fmla="*/ 0 h 78"/>
                  <a:gd name="T20" fmla="*/ 7 w 122"/>
                  <a:gd name="T21" fmla="*/ 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2" h="78">
                    <a:moveTo>
                      <a:pt x="7" y="4"/>
                    </a:moveTo>
                    <a:lnTo>
                      <a:pt x="7" y="4"/>
                    </a:lnTo>
                    <a:lnTo>
                      <a:pt x="3" y="12"/>
                    </a:lnTo>
                    <a:lnTo>
                      <a:pt x="0" y="16"/>
                    </a:lnTo>
                    <a:lnTo>
                      <a:pt x="113" y="78"/>
                    </a:lnTo>
                    <a:lnTo>
                      <a:pt x="115" y="74"/>
                    </a:lnTo>
                    <a:lnTo>
                      <a:pt x="115" y="74"/>
                    </a:lnTo>
                    <a:lnTo>
                      <a:pt x="119" y="66"/>
                    </a:lnTo>
                    <a:lnTo>
                      <a:pt x="122" y="63"/>
                    </a:lnTo>
                    <a:lnTo>
                      <a:pt x="9" y="0"/>
                    </a:lnTo>
                    <a:lnTo>
                      <a:pt x="7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sz="2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44" name="BJPseudoFooter">
            <a:extLst>
              <a:ext uri="{FF2B5EF4-FFF2-40B4-BE49-F238E27FC236}">
                <a16:creationId xmlns:a16="http://schemas.microsoft.com/office/drawing/2014/main" id="{58D70BE4-B7B2-452C-B6E6-FF6450E22DA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038660" y="6642556"/>
            <a:ext cx="2114681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7F7F7F"/>
                </a:solidFill>
                <a:latin typeface="Arial" panose="020B0604020202020204" pitchFamily="34" charset="0"/>
              </a:rPr>
              <a:t>Amgen Proprietary - For Internal Use Only</a:t>
            </a:r>
            <a:endParaRPr lang="en-US" sz="8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522418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37B5A49-2175-4C81-83E5-1A42F57AF7DD}"/>
              </a:ext>
            </a:extLst>
          </p:cNvPr>
          <p:cNvSpPr/>
          <p:nvPr/>
        </p:nvSpPr>
        <p:spPr>
          <a:xfrm>
            <a:off x="1885950" y="3429000"/>
            <a:ext cx="1266825" cy="409575"/>
          </a:xfrm>
          <a:prstGeom prst="roundRect">
            <a:avLst/>
          </a:prstGeom>
          <a:solidFill>
            <a:schemeClr val="accent1"/>
          </a:solidFill>
          <a:ln w="285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9C083B-9D85-4036-BDDA-4B8280A60C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043" y="623422"/>
            <a:ext cx="11222567" cy="625877"/>
          </a:xfrm>
        </p:spPr>
        <p:txBody>
          <a:bodyPr/>
          <a:lstStyle/>
          <a:p>
            <a:r>
              <a:rPr lang="en-US" dirty="0"/>
              <a:t>RPA – growing the automation pipeline</a:t>
            </a:r>
            <a:endParaRPr lang="en-SG" dirty="0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560D9162-6F50-42FF-9A51-B2A8E82FAF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1097990"/>
              </p:ext>
            </p:extLst>
          </p:nvPr>
        </p:nvGraphicFramePr>
        <p:xfrm>
          <a:off x="1031874" y="1262528"/>
          <a:ext cx="9636126" cy="49720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59419401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6DDCE22-0C7C-40B5-A1F6-E45FAEA640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7338" y="1343609"/>
            <a:ext cx="6420963" cy="4735459"/>
          </a:xfrm>
          <a:prstGeom prst="rect">
            <a:avLst/>
          </a:prstGeom>
          <a:noFill/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7282A27-EA0D-442A-B9FB-C440C2AF39F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28301" y="1344086"/>
            <a:ext cx="4963702" cy="4734983"/>
          </a:xfrm>
        </p:spPr>
        <p:txBody>
          <a:bodyPr/>
          <a:lstStyle/>
          <a:p>
            <a:r>
              <a:rPr lang="en-US" dirty="0"/>
              <a:t>Key attributes</a:t>
            </a:r>
          </a:p>
          <a:p>
            <a:endParaRPr lang="en-US" dirty="0"/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2000" dirty="0"/>
              <a:t>Number of repeated steps / time taken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2000" dirty="0"/>
              <a:t>Rule- based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2000" dirty="0"/>
              <a:t>Structured data input (example: Excel spreadsheet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5BA80F-EA69-4D3C-9E2A-F68E5F849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719" y="617711"/>
            <a:ext cx="11222567" cy="625877"/>
          </a:xfrm>
        </p:spPr>
        <p:txBody>
          <a:bodyPr wrap="square" anchor="b">
            <a:normAutofit/>
          </a:bodyPr>
          <a:lstStyle/>
          <a:p>
            <a:r>
              <a:rPr lang="en-SG" dirty="0" err="1"/>
              <a:t>Rpa</a:t>
            </a:r>
            <a:r>
              <a:rPr lang="en-SG" dirty="0"/>
              <a:t> – ideation framework</a:t>
            </a:r>
          </a:p>
        </p:txBody>
      </p:sp>
    </p:spTree>
    <p:extLst>
      <p:ext uri="{BB962C8B-B14F-4D97-AF65-F5344CB8AC3E}">
        <p14:creationId xmlns:p14="http://schemas.microsoft.com/office/powerpoint/2010/main" val="259460633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JPseudoFooter">
            <a:extLst>
              <a:ext uri="{FF2B5EF4-FFF2-40B4-BE49-F238E27FC236}">
                <a16:creationId xmlns:a16="http://schemas.microsoft.com/office/drawing/2014/main" id="{30095DC5-5A33-4D43-B3EB-FE9169F1C43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096000" y="1344086"/>
            <a:ext cx="6096002" cy="4734983"/>
          </a:xfrm>
          <a:prstGeom prst="rect">
            <a:avLst/>
          </a:prstGeom>
          <a:solidFill>
            <a:schemeClr val="accent1"/>
          </a:solidFill>
        </p:spPr>
        <p:txBody>
          <a:bodyPr vert="horz" rtlCol="0" anchor="ctr">
            <a:norm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ECKLIST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is standardized,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ucture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in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ectronic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orm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Process is </a:t>
            </a:r>
            <a:r>
              <a:rPr lang="en-US" sz="2000" b="1" dirty="0">
                <a:solidFill>
                  <a:srgbClr val="FFFFFF"/>
                </a:solidFill>
                <a:latin typeface="Arial"/>
              </a:rPr>
              <a:t>rule-based</a:t>
            </a:r>
            <a:r>
              <a:rPr lang="en-US" sz="2000" dirty="0">
                <a:solidFill>
                  <a:srgbClr val="FFFFFF"/>
                </a:solidFill>
                <a:latin typeface="Arial"/>
              </a:rPr>
              <a:t>, well-defined business logic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Process is </a:t>
            </a:r>
            <a:r>
              <a:rPr lang="en-US" sz="2000" b="1" dirty="0">
                <a:solidFill>
                  <a:srgbClr val="FFFFFF"/>
                </a:solidFill>
                <a:latin typeface="Arial"/>
              </a:rPr>
              <a:t>resource intensive</a:t>
            </a:r>
            <a:r>
              <a:rPr lang="en-US" sz="2000" dirty="0">
                <a:solidFill>
                  <a:srgbClr val="FFFFFF"/>
                </a:solidFill>
                <a:latin typeface="Arial"/>
              </a:rPr>
              <a:t> (# man-hours)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RPA project scalable within Amgen (bonus)</a:t>
            </a:r>
            <a:endParaRPr kumimoji="0" lang="en-SG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35D6746-41D2-43B7-B3FF-1A6175398D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719" y="617711"/>
            <a:ext cx="11222567" cy="625877"/>
          </a:xfrm>
        </p:spPr>
        <p:txBody>
          <a:bodyPr wrap="square" anchor="b">
            <a:normAutofit/>
          </a:bodyPr>
          <a:lstStyle/>
          <a:p>
            <a:r>
              <a:rPr lang="en-US" dirty="0"/>
              <a:t>RPA quick start guid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61F869-2301-4A0E-A3B7-F40F927D0A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9988" y="1509573"/>
            <a:ext cx="2398209" cy="93664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104EE97-FA4F-41AC-BE72-00E68278FBF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8112" y="2960680"/>
            <a:ext cx="2361960" cy="93663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E95BD48-19F4-4228-86B9-A4F10B5D401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988" y="4411786"/>
            <a:ext cx="2302572" cy="93663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9B371C9-604F-45E5-ACF4-B7E22B9D5A7B}"/>
              </a:ext>
            </a:extLst>
          </p:cNvPr>
          <p:cNvSpPr txBox="1"/>
          <p:nvPr/>
        </p:nvSpPr>
        <p:spPr>
          <a:xfrm>
            <a:off x="3023935" y="1545291"/>
            <a:ext cx="267573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Open mindset is key</a:t>
            </a:r>
            <a:endParaRPr lang="en-SG" sz="20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189E8C4-53E3-4FC8-85BC-AB45FD384615}"/>
              </a:ext>
            </a:extLst>
          </p:cNvPr>
          <p:cNvSpPr txBox="1"/>
          <p:nvPr/>
        </p:nvSpPr>
        <p:spPr>
          <a:xfrm>
            <a:off x="3023935" y="2960680"/>
            <a:ext cx="26757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SME to provide domain knowledge</a:t>
            </a:r>
            <a:endParaRPr lang="en-SG" sz="2000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5F44C79-AF43-4F01-A089-78D559382728}"/>
              </a:ext>
            </a:extLst>
          </p:cNvPr>
          <p:cNvSpPr txBox="1"/>
          <p:nvPr/>
        </p:nvSpPr>
        <p:spPr>
          <a:xfrm>
            <a:off x="3023935" y="4411786"/>
            <a:ext cx="26757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Opportunity to learn new technology</a:t>
            </a:r>
            <a:endParaRPr lang="en-SG" sz="2000" b="1" dirty="0"/>
          </a:p>
        </p:txBody>
      </p:sp>
    </p:spTree>
    <p:extLst>
      <p:ext uri="{BB962C8B-B14F-4D97-AF65-F5344CB8AC3E}">
        <p14:creationId xmlns:p14="http://schemas.microsoft.com/office/powerpoint/2010/main" val="13371227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B8A58869-F58C-49FC-8F53-358BAF0A54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719" y="446151"/>
            <a:ext cx="11222567" cy="625877"/>
          </a:xfrm>
        </p:spPr>
        <p:txBody>
          <a:bodyPr/>
          <a:lstStyle/>
          <a:p>
            <a:r>
              <a:rPr lang="en-US" dirty="0"/>
              <a:t>RPA scoring </a:t>
            </a:r>
            <a:r>
              <a:rPr lang="en-US" sz="2800" dirty="0"/>
              <a:t>(RPA Champions)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A116529-37AD-4EB8-BC6A-AF13AB17A8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4719" y="1528235"/>
            <a:ext cx="11222565" cy="469900"/>
          </a:xfrm>
        </p:spPr>
        <p:txBody>
          <a:bodyPr/>
          <a:lstStyle/>
          <a:p>
            <a:r>
              <a:rPr lang="en-US" dirty="0"/>
              <a:t>RPA Potential Candidates screening </a:t>
            </a:r>
            <a:r>
              <a:rPr lang="en-US" sz="2000" dirty="0"/>
              <a:t>(Smartsheet)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37D39B0C-51AF-4952-BD3E-365D3251B65F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3518085121"/>
              </p:ext>
            </p:extLst>
          </p:nvPr>
        </p:nvGraphicFramePr>
        <p:xfrm>
          <a:off x="484719" y="2454341"/>
          <a:ext cx="11222569" cy="2946332"/>
        </p:xfrm>
        <a:graphic>
          <a:graphicData uri="http://schemas.openxmlformats.org/drawingml/2006/table">
            <a:tbl>
              <a:tblPr firstRow="1" bandRow="1">
                <a:solidFill>
                  <a:schemeClr val="bg1"/>
                </a:solidFill>
              </a:tblPr>
              <a:tblGrid>
                <a:gridCol w="1614495">
                  <a:extLst>
                    <a:ext uri="{9D8B030D-6E8A-4147-A177-3AD203B41FA5}">
                      <a16:colId xmlns:a16="http://schemas.microsoft.com/office/drawing/2014/main" val="2118546623"/>
                    </a:ext>
                  </a:extLst>
                </a:gridCol>
                <a:gridCol w="1414331">
                  <a:extLst>
                    <a:ext uri="{9D8B030D-6E8A-4147-A177-3AD203B41FA5}">
                      <a16:colId xmlns:a16="http://schemas.microsoft.com/office/drawing/2014/main" val="1672834152"/>
                    </a:ext>
                  </a:extLst>
                </a:gridCol>
                <a:gridCol w="3117355">
                  <a:extLst>
                    <a:ext uri="{9D8B030D-6E8A-4147-A177-3AD203B41FA5}">
                      <a16:colId xmlns:a16="http://schemas.microsoft.com/office/drawing/2014/main" val="4191507722"/>
                    </a:ext>
                  </a:extLst>
                </a:gridCol>
                <a:gridCol w="2946722">
                  <a:extLst>
                    <a:ext uri="{9D8B030D-6E8A-4147-A177-3AD203B41FA5}">
                      <a16:colId xmlns:a16="http://schemas.microsoft.com/office/drawing/2014/main" val="1056921264"/>
                    </a:ext>
                  </a:extLst>
                </a:gridCol>
                <a:gridCol w="2129666">
                  <a:extLst>
                    <a:ext uri="{9D8B030D-6E8A-4147-A177-3AD203B41FA5}">
                      <a16:colId xmlns:a16="http://schemas.microsoft.com/office/drawing/2014/main" val="3080485331"/>
                    </a:ext>
                  </a:extLst>
                </a:gridCol>
              </a:tblGrid>
              <a:tr h="1473166">
                <a:tc>
                  <a:txBody>
                    <a:bodyPr/>
                    <a:lstStyle/>
                    <a:p>
                      <a:pPr algn="ctr" fontAlgn="b"/>
                      <a:r>
                        <a:rPr lang="en-SG" sz="2900" b="0" i="0" u="none" strike="noStrike" cap="none" spc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Process</a:t>
                      </a:r>
                    </a:p>
                  </a:txBody>
                  <a:tcPr marL="245708" marR="9649" marT="189006" marB="189006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</a:lnT>
                    <a:lnB w="38100" cmpd="sng">
                      <a:noFill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2900" b="0" i="0" u="none" strike="noStrike" cap="none" spc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Man Hours</a:t>
                      </a:r>
                    </a:p>
                  </a:txBody>
                  <a:tcPr marL="245708" marR="9649" marT="189006" marB="189006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</a:lnT>
                    <a:lnB w="38100" cmpd="sng">
                      <a:noFill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29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Estimated time of Process</a:t>
                      </a:r>
                    </a:p>
                  </a:txBody>
                  <a:tcPr marL="245708" marR="9649" marT="189006" marB="189006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</a:lnT>
                    <a:lnB w="38100" cmpd="sng">
                      <a:noFill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2900" b="0" i="0" u="none" strike="noStrike" cap="none" spc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Automation Life Time Value</a:t>
                      </a:r>
                    </a:p>
                  </a:txBody>
                  <a:tcPr marL="245708" marR="9649" marT="189006" marB="189006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</a:lnT>
                    <a:lnB w="38100" cmpd="sng">
                      <a:noFill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2900" b="0" i="0" u="none" strike="noStrike" cap="none" spc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Total hours </a:t>
                      </a:r>
                      <a:r>
                        <a:rPr lang="en-SG" sz="2900" b="0" i="0" u="none" strike="noStrike" cap="none" spc="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per week</a:t>
                      </a:r>
                    </a:p>
                  </a:txBody>
                  <a:tcPr marL="245708" marR="9649" marT="189006" marB="189006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</a:lnT>
                    <a:lnB w="38100" cmpd="sng">
                      <a:noFill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1998655"/>
                  </a:ext>
                </a:extLst>
              </a:tr>
              <a:tr h="1473166">
                <a:tc>
                  <a:txBody>
                    <a:bodyPr/>
                    <a:lstStyle/>
                    <a:p>
                      <a:pPr algn="ctr" fontAlgn="b"/>
                      <a:r>
                        <a:rPr lang="en-SG" sz="2900" b="0" i="0" u="none" strike="noStrike" cap="none" spc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</a:rPr>
                        <a:t>ABC</a:t>
                      </a:r>
                    </a:p>
                  </a:txBody>
                  <a:tcPr marL="245708" marR="9649" marT="189006" marB="189006" anchor="b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2900" b="0" i="0" u="none" strike="noStrike" cap="none" spc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</a:rPr>
                        <a:t>2 FTE</a:t>
                      </a:r>
                    </a:p>
                  </a:txBody>
                  <a:tcPr marL="245708" marR="9649" marT="189006" marB="189006" anchor="b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9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</a:rPr>
                        <a:t>2 hours for 2 FTE = 4 hours</a:t>
                      </a:r>
                    </a:p>
                  </a:txBody>
                  <a:tcPr marL="245708" marR="9649" marT="189006" marB="189006" anchor="b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9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</a:rPr>
                        <a:t>FTE do this on 2 days = 8</a:t>
                      </a:r>
                    </a:p>
                  </a:txBody>
                  <a:tcPr marL="245708" marR="9649" marT="189006" marB="189006" anchor="b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2900" b="0" i="0" u="none" strike="noStrike" cap="none" spc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245708" marR="9649" marT="189006" marB="189006" anchor="b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21395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328181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BCAF622-6D0D-4EB2-9E22-03ED51156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920" y="439213"/>
            <a:ext cx="11222567" cy="625877"/>
          </a:xfrm>
        </p:spPr>
        <p:txBody>
          <a:bodyPr/>
          <a:lstStyle/>
          <a:p>
            <a:r>
              <a:rPr lang="en-US" dirty="0"/>
              <a:t>RPA process prioritization </a:t>
            </a:r>
            <a:r>
              <a:rPr lang="en-US" sz="2800" dirty="0"/>
              <a:t>(RPA COE)</a:t>
            </a:r>
            <a:endParaRPr lang="en-SG" sz="28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D04EDE-9EF6-4DD0-99DA-2CFB82CCB0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920" y="1482086"/>
            <a:ext cx="5155640" cy="459698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78A87FC-4358-45C8-B3D7-C28250BCB0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08322" y="1482086"/>
            <a:ext cx="3563898" cy="41783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09927B5-BE86-428B-BBC8-0F7FD039AA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0" y="3047359"/>
            <a:ext cx="3476220" cy="47113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2942E96-9B3C-4534-B219-A6604BD87F3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08322" y="4660852"/>
            <a:ext cx="3563898" cy="48347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DD4C7C97-F1AB-4AD7-9517-0152755C46F8}"/>
              </a:ext>
            </a:extLst>
          </p:cNvPr>
          <p:cNvSpPr txBox="1"/>
          <p:nvPr/>
        </p:nvSpPr>
        <p:spPr>
          <a:xfrm>
            <a:off x="6008321" y="2385945"/>
            <a:ext cx="37357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High volume, Manual processes</a:t>
            </a:r>
            <a:endParaRPr lang="en-SG" b="1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CAFD677-2EA0-4BF1-B6A4-284B6008E449}"/>
              </a:ext>
            </a:extLst>
          </p:cNvPr>
          <p:cNvSpPr txBox="1"/>
          <p:nvPr/>
        </p:nvSpPr>
        <p:spPr>
          <a:xfrm>
            <a:off x="6008321" y="3935491"/>
            <a:ext cx="61112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/>
              <a:t>Repetitive</a:t>
            </a:r>
            <a:r>
              <a:rPr lang="en-US" b="1" dirty="0"/>
              <a:t> (data filtering, updating)</a:t>
            </a:r>
            <a:endParaRPr lang="en-SG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34EFA3C-FF6D-42D3-B5C8-EB042F35174E}"/>
              </a:ext>
            </a:extLst>
          </p:cNvPr>
          <p:cNvSpPr txBox="1"/>
          <p:nvPr/>
        </p:nvSpPr>
        <p:spPr>
          <a:xfrm>
            <a:off x="6008321" y="5530839"/>
            <a:ext cx="37357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Productivity, cost</a:t>
            </a:r>
            <a:endParaRPr lang="en-SG" b="1" dirty="0"/>
          </a:p>
        </p:txBody>
      </p:sp>
    </p:spTree>
    <p:extLst>
      <p:ext uri="{BB962C8B-B14F-4D97-AF65-F5344CB8AC3E}">
        <p14:creationId xmlns:p14="http://schemas.microsoft.com/office/powerpoint/2010/main" val="329391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JPseudoFooter">
            <a:extLst>
              <a:ext uri="{FF2B5EF4-FFF2-40B4-BE49-F238E27FC236}">
                <a16:creationId xmlns:a16="http://schemas.microsoft.com/office/drawing/2014/main" id="{30095DC5-5A33-4D43-B3EB-FE9169F1C43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7191375" y="1344086"/>
            <a:ext cx="5000628" cy="4734983"/>
          </a:xfrm>
          <a:prstGeom prst="rect">
            <a:avLst/>
          </a:prstGeom>
          <a:solidFill>
            <a:schemeClr val="accent1"/>
          </a:solidFill>
        </p:spPr>
        <p:txBody>
          <a:bodyPr vert="horz" rtlCol="0" anchor="ctr">
            <a:norm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9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mple scoring system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933" dirty="0">
                <a:solidFill>
                  <a:srgbClr val="FFFFFF"/>
                </a:solidFill>
                <a:latin typeface="Arial"/>
              </a:rPr>
              <a:t>RPA Score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9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nefits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volume of transactions: man -hours savings)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SG" sz="293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35D6746-41D2-43B7-B3FF-1A6175398D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715" y="589817"/>
            <a:ext cx="11222567" cy="625877"/>
          </a:xfrm>
        </p:spPr>
        <p:txBody>
          <a:bodyPr wrap="square" anchor="b">
            <a:normAutofit/>
          </a:bodyPr>
          <a:lstStyle/>
          <a:p>
            <a:r>
              <a:rPr lang="en-US" dirty="0"/>
              <a:t>RPA checklist &amp; score </a:t>
            </a:r>
            <a:r>
              <a:rPr lang="en-US" sz="2800" dirty="0"/>
              <a:t>(RPA COE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DFFB311-3C35-4239-AA26-31FA0494CB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9545546"/>
              </p:ext>
            </p:extLst>
          </p:nvPr>
        </p:nvGraphicFramePr>
        <p:xfrm>
          <a:off x="342900" y="1560513"/>
          <a:ext cx="6629400" cy="4240216"/>
        </p:xfrm>
        <a:graphic>
          <a:graphicData uri="http://schemas.openxmlformats.org/drawingml/2006/table">
            <a:tbl>
              <a:tblPr/>
              <a:tblGrid>
                <a:gridCol w="1498821">
                  <a:extLst>
                    <a:ext uri="{9D8B030D-6E8A-4147-A177-3AD203B41FA5}">
                      <a16:colId xmlns:a16="http://schemas.microsoft.com/office/drawing/2014/main" val="1359509215"/>
                    </a:ext>
                  </a:extLst>
                </a:gridCol>
                <a:gridCol w="1076077">
                  <a:extLst>
                    <a:ext uri="{9D8B030D-6E8A-4147-A177-3AD203B41FA5}">
                      <a16:colId xmlns:a16="http://schemas.microsoft.com/office/drawing/2014/main" val="3856363399"/>
                    </a:ext>
                  </a:extLst>
                </a:gridCol>
                <a:gridCol w="2363525">
                  <a:extLst>
                    <a:ext uri="{9D8B030D-6E8A-4147-A177-3AD203B41FA5}">
                      <a16:colId xmlns:a16="http://schemas.microsoft.com/office/drawing/2014/main" val="1685638845"/>
                    </a:ext>
                  </a:extLst>
                </a:gridCol>
                <a:gridCol w="1690977">
                  <a:extLst>
                    <a:ext uri="{9D8B030D-6E8A-4147-A177-3AD203B41FA5}">
                      <a16:colId xmlns:a16="http://schemas.microsoft.com/office/drawing/2014/main" val="112566390"/>
                    </a:ext>
                  </a:extLst>
                </a:gridCol>
              </a:tblGrid>
              <a:tr h="530027"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ule base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ule base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th rule and judgemen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dgement base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1439847"/>
                  </a:ext>
                </a:extLst>
              </a:tr>
              <a:tr h="530027"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587487"/>
                  </a:ext>
                </a:extLst>
              </a:tr>
              <a:tr h="530027"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uctured Dat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ucture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xe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structure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1295609"/>
                  </a:ext>
                </a:extLst>
              </a:tr>
              <a:tr h="530027"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21587"/>
                  </a:ext>
                </a:extLst>
              </a:tr>
              <a:tr h="530027"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ception Rate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1760745"/>
                  </a:ext>
                </a:extLst>
              </a:tr>
              <a:tr h="530027"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7164620"/>
                  </a:ext>
                </a:extLst>
              </a:tr>
              <a:tr h="530027"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um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0320636"/>
                  </a:ext>
                </a:extLst>
              </a:tr>
              <a:tr h="530027"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68887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174530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Green one third"/>
  <p:tag name="EE4P_LAYOUT_ID" val="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Amgen Proprietary - For Internal Use Only"/>
  <p:tag name="BJHEADERFOOTERTEXTMARKING" val="Amgen Proprietary - For Internal Use Only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016 Amgen Corporate Template_16x9_INTERNAL">
  <a:themeElements>
    <a:clrScheme name="AmgenColors">
      <a:dk1>
        <a:srgbClr val="000000"/>
      </a:dk1>
      <a:lt1>
        <a:srgbClr val="FFFFFF"/>
      </a:lt1>
      <a:dk2>
        <a:srgbClr val="716F73"/>
      </a:dk2>
      <a:lt2>
        <a:srgbClr val="00BCE4"/>
      </a:lt2>
      <a:accent1>
        <a:srgbClr val="0063C3"/>
      </a:accent1>
      <a:accent2>
        <a:srgbClr val="88C765"/>
      </a:accent2>
      <a:accent3>
        <a:srgbClr val="F3C108"/>
      </a:accent3>
      <a:accent4>
        <a:srgbClr val="D34D2F"/>
      </a:accent4>
      <a:accent5>
        <a:srgbClr val="597B7C"/>
      </a:accent5>
      <a:accent6>
        <a:srgbClr val="005480"/>
      </a:accent6>
      <a:hlink>
        <a:srgbClr val="2DBCB6"/>
      </a:hlink>
      <a:folHlink>
        <a:srgbClr val="B2A97E"/>
      </a:folHlink>
    </a:clrScheme>
    <a:fontScheme name="Amgen Corporate">
      <a:majorFont>
        <a:latin typeface="Calibri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 cap="rnd">
          <a:solidFill>
            <a:schemeClr val="tx1"/>
          </a:solidFill>
          <a:tailEnd type="stealth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4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7 Amgen Corporate Template_16x9_INTERNAL_EXTERNAL.potx" id="{48E5096D-00E7-4E9C-9704-737409897562}" vid="{EF1A956B-3B03-46FB-A2D5-71314C52DA9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05</TotalTime>
  <Words>1212</Words>
  <Application>Microsoft Office PowerPoint</Application>
  <PresentationFormat>Widescreen</PresentationFormat>
  <Paragraphs>283</Paragraphs>
  <Slides>29</Slides>
  <Notes>20</Notes>
  <HiddenSlides>0</HiddenSlides>
  <MMClips>1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9" baseType="lpstr">
      <vt:lpstr>Arial</vt:lpstr>
      <vt:lpstr>Calibri</vt:lpstr>
      <vt:lpstr>Calibri Light</vt:lpstr>
      <vt:lpstr>Museo Sans 500</vt:lpstr>
      <vt:lpstr>Times New Roman</vt:lpstr>
      <vt:lpstr>Trebuchet MS</vt:lpstr>
      <vt:lpstr>Wingdings</vt:lpstr>
      <vt:lpstr>Office Theme</vt:lpstr>
      <vt:lpstr>2016 Amgen Corporate Template_16x9_INTERNAL</vt:lpstr>
      <vt:lpstr>think-cell Slide</vt:lpstr>
      <vt:lpstr>PowerPoint Presentation</vt:lpstr>
      <vt:lpstr>Rpa champions advancing RPA maturity</vt:lpstr>
      <vt:lpstr>What is RPA?</vt:lpstr>
      <vt:lpstr>RPA – growing the automation pipeline</vt:lpstr>
      <vt:lpstr>Rpa – ideation framework</vt:lpstr>
      <vt:lpstr>RPA quick start guide</vt:lpstr>
      <vt:lpstr>RPA scoring (RPA Champions)</vt:lpstr>
      <vt:lpstr>RPA process prioritization (RPA COE)</vt:lpstr>
      <vt:lpstr>RPA checklist &amp; score (RPA COE)</vt:lpstr>
      <vt:lpstr>RPA process assessment matrix (RPA COE)</vt:lpstr>
      <vt:lpstr>Smartsheet – RPA ideation (RPA Champions)</vt:lpstr>
      <vt:lpstr>RPA use case – po expenses allocation</vt:lpstr>
      <vt:lpstr>RPA use case – po expenses allocation</vt:lpstr>
      <vt:lpstr>RPA use case example - Data retrieval. PDF to excel</vt:lpstr>
      <vt:lpstr>RPA use case example – Data retrieval. PDF to excel</vt:lpstr>
      <vt:lpstr>RPA use case – Data retrieval (global vehicle manufacturer)</vt:lpstr>
      <vt:lpstr>RPA use case – streamlined Invoice processing</vt:lpstr>
      <vt:lpstr>RPA Checklist – take away</vt:lpstr>
      <vt:lpstr>A robot for every person - Conclusion</vt:lpstr>
      <vt:lpstr>PowerPoint Presentation</vt:lpstr>
      <vt:lpstr>Backup slides</vt:lpstr>
      <vt:lpstr>RPA Adoption</vt:lpstr>
      <vt:lpstr>RPA potential use case – EBR</vt:lpstr>
      <vt:lpstr>RPA use case – asm2 solvents monitoring</vt:lpstr>
      <vt:lpstr>Accelerate returns with an automation flywheel</vt:lpstr>
      <vt:lpstr>RPA – growing the automation pipeline</vt:lpstr>
      <vt:lpstr>PowerPoint Presentation</vt:lpstr>
      <vt:lpstr>RPA potential use cas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n, John</dc:creator>
  <cp:lastModifiedBy>Tan, John</cp:lastModifiedBy>
  <cp:revision>2</cp:revision>
  <dcterms:created xsi:type="dcterms:W3CDTF">2021-12-29T01:19:01Z</dcterms:created>
  <dcterms:modified xsi:type="dcterms:W3CDTF">2022-02-23T12:04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6d25811-8652-434b-b065-f77059cd35bb_Enabled">
    <vt:lpwstr>true</vt:lpwstr>
  </property>
  <property fmtid="{D5CDD505-2E9C-101B-9397-08002B2CF9AE}" pid="3" name="MSIP_Label_26d25811-8652-434b-b065-f77059cd35bb_SetDate">
    <vt:lpwstr>2021-12-29T01:30:19Z</vt:lpwstr>
  </property>
  <property fmtid="{D5CDD505-2E9C-101B-9397-08002B2CF9AE}" pid="4" name="MSIP_Label_26d25811-8652-434b-b065-f77059cd35bb_Method">
    <vt:lpwstr>Privileged</vt:lpwstr>
  </property>
  <property fmtid="{D5CDD505-2E9C-101B-9397-08002B2CF9AE}" pid="5" name="MSIP_Label_26d25811-8652-434b-b065-f77059cd35bb_Name">
    <vt:lpwstr>Internal Use Only General Business</vt:lpwstr>
  </property>
  <property fmtid="{D5CDD505-2E9C-101B-9397-08002B2CF9AE}" pid="6" name="MSIP_Label_26d25811-8652-434b-b065-f77059cd35bb_SiteId">
    <vt:lpwstr>4b4266a6-1368-41af-ad5a-59eb634f7ad8</vt:lpwstr>
  </property>
  <property fmtid="{D5CDD505-2E9C-101B-9397-08002B2CF9AE}" pid="7" name="MSIP_Label_26d25811-8652-434b-b065-f77059cd35bb_ActionId">
    <vt:lpwstr>34fdb57d-3791-462c-a817-fee6d38c6a75</vt:lpwstr>
  </property>
  <property fmtid="{D5CDD505-2E9C-101B-9397-08002B2CF9AE}" pid="8" name="MSIP_Label_26d25811-8652-434b-b065-f77059cd35bb_ContentBits">
    <vt:lpwstr>2</vt:lpwstr>
  </property>
</Properties>
</file>